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2.xml" ContentType="application/vnd.openxmlformats-officedocument.them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89" r:id="rId2"/>
    <p:sldMasterId id="2147483725" r:id="rId3"/>
  </p:sldMasterIdLst>
  <p:notesMasterIdLst>
    <p:notesMasterId r:id="rId22"/>
  </p:notesMasterIdLst>
  <p:sldIdLst>
    <p:sldId id="2134805457" r:id="rId4"/>
    <p:sldId id="1629" r:id="rId5"/>
    <p:sldId id="2134805466" r:id="rId6"/>
    <p:sldId id="256" r:id="rId7"/>
    <p:sldId id="1630" r:id="rId8"/>
    <p:sldId id="2134805467" r:id="rId9"/>
    <p:sldId id="257" r:id="rId10"/>
    <p:sldId id="1631" r:id="rId11"/>
    <p:sldId id="2134805468" r:id="rId12"/>
    <p:sldId id="258" r:id="rId13"/>
    <p:sldId id="2134805459" r:id="rId14"/>
    <p:sldId id="2134805460" r:id="rId15"/>
    <p:sldId id="2134805461" r:id="rId16"/>
    <p:sldId id="2134805462" r:id="rId17"/>
    <p:sldId id="2134805463" r:id="rId18"/>
    <p:sldId id="2134805464" r:id="rId19"/>
    <p:sldId id="2134805465" r:id="rId20"/>
    <p:sldId id="2134805456" r:id="rId21"/>
  </p:sldIdLst>
  <p:sldSz cx="12192000" cy="6858000"/>
  <p:notesSz cx="6858000" cy="9144000"/>
  <p:defaultTextStyle>
    <a:defPPr>
      <a:defRPr lang="es-P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4686AF3-8960-4962-9FE8-20C5E321C1FC}" v="3" dt="2022-09-01T22:19:20.367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7" autoAdjust="0"/>
    <p:restoredTop sz="80952" autoAdjust="0"/>
  </p:normalViewPr>
  <p:slideViewPr>
    <p:cSldViewPr snapToGrid="0">
      <p:cViewPr varScale="1">
        <p:scale>
          <a:sx n="68" d="100"/>
          <a:sy n="68" d="100"/>
        </p:scale>
        <p:origin x="1253" y="43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viewProps" Target="viewProp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presProps" Target="presProps.xml"/><Relationship Id="rId28" Type="http://schemas.microsoft.com/office/2015/10/relationships/revisionInfo" Target="revisionInfo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notesMaster" Target="notesMasters/notesMaster1.xml"/><Relationship Id="rId27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ichelle Santibañez" userId="552c9fac-9363-411d-9972-22fea21bddb4" providerId="ADAL" clId="{94686AF3-8960-4962-9FE8-20C5E321C1FC}"/>
    <pc:docChg chg="custSel addSld delSld modSld delMainMaster">
      <pc:chgData name="Michelle Santibañez" userId="552c9fac-9363-411d-9972-22fea21bddb4" providerId="ADAL" clId="{94686AF3-8960-4962-9FE8-20C5E321C1FC}" dt="2022-09-01T22:19:20.360" v="10"/>
      <pc:docMkLst>
        <pc:docMk/>
      </pc:docMkLst>
      <pc:sldChg chg="add del">
        <pc:chgData name="Michelle Santibañez" userId="552c9fac-9363-411d-9972-22fea21bddb4" providerId="ADAL" clId="{94686AF3-8960-4962-9FE8-20C5E321C1FC}" dt="2022-09-01T22:19:20.360" v="10"/>
        <pc:sldMkLst>
          <pc:docMk/>
          <pc:sldMk cId="3312518286" sldId="256"/>
        </pc:sldMkLst>
      </pc:sldChg>
      <pc:sldChg chg="add del">
        <pc:chgData name="Michelle Santibañez" userId="552c9fac-9363-411d-9972-22fea21bddb4" providerId="ADAL" clId="{94686AF3-8960-4962-9FE8-20C5E321C1FC}" dt="2022-09-01T22:19:20.360" v="10"/>
        <pc:sldMkLst>
          <pc:docMk/>
          <pc:sldMk cId="2757907109" sldId="257"/>
        </pc:sldMkLst>
      </pc:sldChg>
      <pc:sldChg chg="add del">
        <pc:chgData name="Michelle Santibañez" userId="552c9fac-9363-411d-9972-22fea21bddb4" providerId="ADAL" clId="{94686AF3-8960-4962-9FE8-20C5E321C1FC}" dt="2022-09-01T22:19:20.360" v="10"/>
        <pc:sldMkLst>
          <pc:docMk/>
          <pc:sldMk cId="2524656498" sldId="258"/>
        </pc:sldMkLst>
      </pc:sldChg>
      <pc:sldChg chg="add del">
        <pc:chgData name="Michelle Santibañez" userId="552c9fac-9363-411d-9972-22fea21bddb4" providerId="ADAL" clId="{94686AF3-8960-4962-9FE8-20C5E321C1FC}" dt="2022-09-01T22:19:20.360" v="10"/>
        <pc:sldMkLst>
          <pc:docMk/>
          <pc:sldMk cId="1086266910" sldId="1629"/>
        </pc:sldMkLst>
      </pc:sldChg>
      <pc:sldChg chg="add del">
        <pc:chgData name="Michelle Santibañez" userId="552c9fac-9363-411d-9972-22fea21bddb4" providerId="ADAL" clId="{94686AF3-8960-4962-9FE8-20C5E321C1FC}" dt="2022-09-01T22:19:20.360" v="10"/>
        <pc:sldMkLst>
          <pc:docMk/>
          <pc:sldMk cId="2140441472" sldId="1630"/>
        </pc:sldMkLst>
      </pc:sldChg>
      <pc:sldChg chg="add del">
        <pc:chgData name="Michelle Santibañez" userId="552c9fac-9363-411d-9972-22fea21bddb4" providerId="ADAL" clId="{94686AF3-8960-4962-9FE8-20C5E321C1FC}" dt="2022-09-01T22:19:20.360" v="10"/>
        <pc:sldMkLst>
          <pc:docMk/>
          <pc:sldMk cId="543614401" sldId="1631"/>
        </pc:sldMkLst>
      </pc:sldChg>
      <pc:sldChg chg="del">
        <pc:chgData name="Michelle Santibañez" userId="552c9fac-9363-411d-9972-22fea21bddb4" providerId="ADAL" clId="{94686AF3-8960-4962-9FE8-20C5E321C1FC}" dt="2022-09-01T22:18:19.268" v="1" actId="47"/>
        <pc:sldMkLst>
          <pc:docMk/>
          <pc:sldMk cId="4096198554" sldId="2076136708"/>
        </pc:sldMkLst>
      </pc:sldChg>
      <pc:sldChg chg="del">
        <pc:chgData name="Michelle Santibañez" userId="552c9fac-9363-411d-9972-22fea21bddb4" providerId="ADAL" clId="{94686AF3-8960-4962-9FE8-20C5E321C1FC}" dt="2022-09-01T22:18:19.574" v="2" actId="47"/>
        <pc:sldMkLst>
          <pc:docMk/>
          <pc:sldMk cId="1089126518" sldId="2076136709"/>
        </pc:sldMkLst>
      </pc:sldChg>
      <pc:sldChg chg="del">
        <pc:chgData name="Michelle Santibañez" userId="552c9fac-9363-411d-9972-22fea21bddb4" providerId="ADAL" clId="{94686AF3-8960-4962-9FE8-20C5E321C1FC}" dt="2022-09-01T22:18:19.854" v="3" actId="47"/>
        <pc:sldMkLst>
          <pc:docMk/>
          <pc:sldMk cId="4031277341" sldId="2076136710"/>
        </pc:sldMkLst>
      </pc:sldChg>
      <pc:sldChg chg="del">
        <pc:chgData name="Michelle Santibañez" userId="552c9fac-9363-411d-9972-22fea21bddb4" providerId="ADAL" clId="{94686AF3-8960-4962-9FE8-20C5E321C1FC}" dt="2022-09-01T22:18:20.674" v="4" actId="47"/>
        <pc:sldMkLst>
          <pc:docMk/>
          <pc:sldMk cId="139927086" sldId="2076136711"/>
        </pc:sldMkLst>
      </pc:sldChg>
      <pc:sldChg chg="add del">
        <pc:chgData name="Michelle Santibañez" userId="552c9fac-9363-411d-9972-22fea21bddb4" providerId="ADAL" clId="{94686AF3-8960-4962-9FE8-20C5E321C1FC}" dt="2022-09-01T22:19:20.360" v="10"/>
        <pc:sldMkLst>
          <pc:docMk/>
          <pc:sldMk cId="3681778392" sldId="2134805456"/>
        </pc:sldMkLst>
      </pc:sldChg>
      <pc:sldChg chg="addSp delSp modSp add del mod">
        <pc:chgData name="Michelle Santibañez" userId="552c9fac-9363-411d-9972-22fea21bddb4" providerId="ADAL" clId="{94686AF3-8960-4962-9FE8-20C5E321C1FC}" dt="2022-09-01T22:19:20.360" v="10"/>
        <pc:sldMkLst>
          <pc:docMk/>
          <pc:sldMk cId="3668963524" sldId="2134805457"/>
        </pc:sldMkLst>
        <pc:spChg chg="del">
          <ac:chgData name="Michelle Santibañez" userId="552c9fac-9363-411d-9972-22fea21bddb4" providerId="ADAL" clId="{94686AF3-8960-4962-9FE8-20C5E321C1FC}" dt="2022-09-01T22:18:27.408" v="5" actId="478"/>
          <ac:spMkLst>
            <pc:docMk/>
            <pc:sldMk cId="3668963524" sldId="2134805457"/>
            <ac:spMk id="3" creationId="{D444BC21-4E66-456E-AE64-932FF10E175F}"/>
          </ac:spMkLst>
        </pc:spChg>
        <pc:spChg chg="add del mod">
          <ac:chgData name="Michelle Santibañez" userId="552c9fac-9363-411d-9972-22fea21bddb4" providerId="ADAL" clId="{94686AF3-8960-4962-9FE8-20C5E321C1FC}" dt="2022-09-01T22:18:30.245" v="6" actId="478"/>
          <ac:spMkLst>
            <pc:docMk/>
            <pc:sldMk cId="3668963524" sldId="2134805457"/>
            <ac:spMk id="5" creationId="{3382E331-0DBA-EF2D-E0E8-C0755E1066C4}"/>
          </ac:spMkLst>
        </pc:spChg>
      </pc:sldChg>
      <pc:sldChg chg="del">
        <pc:chgData name="Michelle Santibañez" userId="552c9fac-9363-411d-9972-22fea21bddb4" providerId="ADAL" clId="{94686AF3-8960-4962-9FE8-20C5E321C1FC}" dt="2022-09-01T22:18:18.894" v="0" actId="47"/>
        <pc:sldMkLst>
          <pc:docMk/>
          <pc:sldMk cId="2535960751" sldId="2134805458"/>
        </pc:sldMkLst>
      </pc:sldChg>
      <pc:sldChg chg="add del">
        <pc:chgData name="Michelle Santibañez" userId="552c9fac-9363-411d-9972-22fea21bddb4" providerId="ADAL" clId="{94686AF3-8960-4962-9FE8-20C5E321C1FC}" dt="2022-09-01T22:19:20.360" v="10"/>
        <pc:sldMkLst>
          <pc:docMk/>
          <pc:sldMk cId="379158343" sldId="2134805459"/>
        </pc:sldMkLst>
      </pc:sldChg>
      <pc:sldChg chg="add del">
        <pc:chgData name="Michelle Santibañez" userId="552c9fac-9363-411d-9972-22fea21bddb4" providerId="ADAL" clId="{94686AF3-8960-4962-9FE8-20C5E321C1FC}" dt="2022-09-01T22:19:20.360" v="10"/>
        <pc:sldMkLst>
          <pc:docMk/>
          <pc:sldMk cId="1886086479" sldId="2134805460"/>
        </pc:sldMkLst>
      </pc:sldChg>
      <pc:sldChg chg="add del">
        <pc:chgData name="Michelle Santibañez" userId="552c9fac-9363-411d-9972-22fea21bddb4" providerId="ADAL" clId="{94686AF3-8960-4962-9FE8-20C5E321C1FC}" dt="2022-09-01T22:19:20.360" v="10"/>
        <pc:sldMkLst>
          <pc:docMk/>
          <pc:sldMk cId="2617780057" sldId="2134805461"/>
        </pc:sldMkLst>
      </pc:sldChg>
      <pc:sldChg chg="add del">
        <pc:chgData name="Michelle Santibañez" userId="552c9fac-9363-411d-9972-22fea21bddb4" providerId="ADAL" clId="{94686AF3-8960-4962-9FE8-20C5E321C1FC}" dt="2022-09-01T22:19:20.360" v="10"/>
        <pc:sldMkLst>
          <pc:docMk/>
          <pc:sldMk cId="3021207327" sldId="2134805462"/>
        </pc:sldMkLst>
      </pc:sldChg>
      <pc:sldChg chg="add del">
        <pc:chgData name="Michelle Santibañez" userId="552c9fac-9363-411d-9972-22fea21bddb4" providerId="ADAL" clId="{94686AF3-8960-4962-9FE8-20C5E321C1FC}" dt="2022-09-01T22:19:20.360" v="10"/>
        <pc:sldMkLst>
          <pc:docMk/>
          <pc:sldMk cId="1676748703" sldId="2134805463"/>
        </pc:sldMkLst>
      </pc:sldChg>
      <pc:sldChg chg="add del">
        <pc:chgData name="Michelle Santibañez" userId="552c9fac-9363-411d-9972-22fea21bddb4" providerId="ADAL" clId="{94686AF3-8960-4962-9FE8-20C5E321C1FC}" dt="2022-09-01T22:19:20.360" v="10"/>
        <pc:sldMkLst>
          <pc:docMk/>
          <pc:sldMk cId="937477918" sldId="2134805464"/>
        </pc:sldMkLst>
      </pc:sldChg>
      <pc:sldChg chg="add del">
        <pc:chgData name="Michelle Santibañez" userId="552c9fac-9363-411d-9972-22fea21bddb4" providerId="ADAL" clId="{94686AF3-8960-4962-9FE8-20C5E321C1FC}" dt="2022-09-01T22:19:20.360" v="10"/>
        <pc:sldMkLst>
          <pc:docMk/>
          <pc:sldMk cId="1053499187" sldId="2134805465"/>
        </pc:sldMkLst>
      </pc:sldChg>
      <pc:sldChg chg="add del">
        <pc:chgData name="Michelle Santibañez" userId="552c9fac-9363-411d-9972-22fea21bddb4" providerId="ADAL" clId="{94686AF3-8960-4962-9FE8-20C5E321C1FC}" dt="2022-09-01T22:19:20.360" v="10"/>
        <pc:sldMkLst>
          <pc:docMk/>
          <pc:sldMk cId="2598275418" sldId="2134805466"/>
        </pc:sldMkLst>
      </pc:sldChg>
      <pc:sldChg chg="add del">
        <pc:chgData name="Michelle Santibañez" userId="552c9fac-9363-411d-9972-22fea21bddb4" providerId="ADAL" clId="{94686AF3-8960-4962-9FE8-20C5E321C1FC}" dt="2022-09-01T22:19:20.360" v="10"/>
        <pc:sldMkLst>
          <pc:docMk/>
          <pc:sldMk cId="367058021" sldId="2134805467"/>
        </pc:sldMkLst>
      </pc:sldChg>
      <pc:sldChg chg="add del">
        <pc:chgData name="Michelle Santibañez" userId="552c9fac-9363-411d-9972-22fea21bddb4" providerId="ADAL" clId="{94686AF3-8960-4962-9FE8-20C5E321C1FC}" dt="2022-09-01T22:19:20.360" v="10"/>
        <pc:sldMkLst>
          <pc:docMk/>
          <pc:sldMk cId="1983193035" sldId="2134805468"/>
        </pc:sldMkLst>
      </pc:sldChg>
      <pc:sldMasterChg chg="del delSldLayout">
        <pc:chgData name="Michelle Santibañez" userId="552c9fac-9363-411d-9972-22fea21bddb4" providerId="ADAL" clId="{94686AF3-8960-4962-9FE8-20C5E321C1FC}" dt="2022-09-01T22:19:06.116" v="7" actId="47"/>
        <pc:sldMasterMkLst>
          <pc:docMk/>
          <pc:sldMasterMk cId="3214084867" sldId="2147483648"/>
        </pc:sldMasterMkLst>
        <pc:sldLayoutChg chg="del">
          <pc:chgData name="Michelle Santibañez" userId="552c9fac-9363-411d-9972-22fea21bddb4" providerId="ADAL" clId="{94686AF3-8960-4962-9FE8-20C5E321C1FC}" dt="2022-09-01T22:19:06.116" v="7" actId="47"/>
          <pc:sldLayoutMkLst>
            <pc:docMk/>
            <pc:sldMasterMk cId="3214084867" sldId="2147483648"/>
            <pc:sldLayoutMk cId="248455258" sldId="2147483649"/>
          </pc:sldLayoutMkLst>
        </pc:sldLayoutChg>
        <pc:sldLayoutChg chg="del">
          <pc:chgData name="Michelle Santibañez" userId="552c9fac-9363-411d-9972-22fea21bddb4" providerId="ADAL" clId="{94686AF3-8960-4962-9FE8-20C5E321C1FC}" dt="2022-09-01T22:19:06.116" v="7" actId="47"/>
          <pc:sldLayoutMkLst>
            <pc:docMk/>
            <pc:sldMasterMk cId="3214084867" sldId="2147483648"/>
            <pc:sldLayoutMk cId="3690747120" sldId="2147483650"/>
          </pc:sldLayoutMkLst>
        </pc:sldLayoutChg>
        <pc:sldLayoutChg chg="del">
          <pc:chgData name="Michelle Santibañez" userId="552c9fac-9363-411d-9972-22fea21bddb4" providerId="ADAL" clId="{94686AF3-8960-4962-9FE8-20C5E321C1FC}" dt="2022-09-01T22:19:06.116" v="7" actId="47"/>
          <pc:sldLayoutMkLst>
            <pc:docMk/>
            <pc:sldMasterMk cId="3214084867" sldId="2147483648"/>
            <pc:sldLayoutMk cId="3839520542" sldId="2147483651"/>
          </pc:sldLayoutMkLst>
        </pc:sldLayoutChg>
        <pc:sldLayoutChg chg="del">
          <pc:chgData name="Michelle Santibañez" userId="552c9fac-9363-411d-9972-22fea21bddb4" providerId="ADAL" clId="{94686AF3-8960-4962-9FE8-20C5E321C1FC}" dt="2022-09-01T22:19:06.116" v="7" actId="47"/>
          <pc:sldLayoutMkLst>
            <pc:docMk/>
            <pc:sldMasterMk cId="3214084867" sldId="2147483648"/>
            <pc:sldLayoutMk cId="728044071" sldId="2147483652"/>
          </pc:sldLayoutMkLst>
        </pc:sldLayoutChg>
        <pc:sldLayoutChg chg="del">
          <pc:chgData name="Michelle Santibañez" userId="552c9fac-9363-411d-9972-22fea21bddb4" providerId="ADAL" clId="{94686AF3-8960-4962-9FE8-20C5E321C1FC}" dt="2022-09-01T22:19:06.116" v="7" actId="47"/>
          <pc:sldLayoutMkLst>
            <pc:docMk/>
            <pc:sldMasterMk cId="3214084867" sldId="2147483648"/>
            <pc:sldLayoutMk cId="3901428528" sldId="2147483653"/>
          </pc:sldLayoutMkLst>
        </pc:sldLayoutChg>
        <pc:sldLayoutChg chg="del">
          <pc:chgData name="Michelle Santibañez" userId="552c9fac-9363-411d-9972-22fea21bddb4" providerId="ADAL" clId="{94686AF3-8960-4962-9FE8-20C5E321C1FC}" dt="2022-09-01T22:19:06.116" v="7" actId="47"/>
          <pc:sldLayoutMkLst>
            <pc:docMk/>
            <pc:sldMasterMk cId="3214084867" sldId="2147483648"/>
            <pc:sldLayoutMk cId="2514040896" sldId="2147483654"/>
          </pc:sldLayoutMkLst>
        </pc:sldLayoutChg>
        <pc:sldLayoutChg chg="del">
          <pc:chgData name="Michelle Santibañez" userId="552c9fac-9363-411d-9972-22fea21bddb4" providerId="ADAL" clId="{94686AF3-8960-4962-9FE8-20C5E321C1FC}" dt="2022-09-01T22:19:06.116" v="7" actId="47"/>
          <pc:sldLayoutMkLst>
            <pc:docMk/>
            <pc:sldMasterMk cId="3214084867" sldId="2147483648"/>
            <pc:sldLayoutMk cId="495232753" sldId="2147483655"/>
          </pc:sldLayoutMkLst>
        </pc:sldLayoutChg>
        <pc:sldLayoutChg chg="del">
          <pc:chgData name="Michelle Santibañez" userId="552c9fac-9363-411d-9972-22fea21bddb4" providerId="ADAL" clId="{94686AF3-8960-4962-9FE8-20C5E321C1FC}" dt="2022-09-01T22:19:06.116" v="7" actId="47"/>
          <pc:sldLayoutMkLst>
            <pc:docMk/>
            <pc:sldMasterMk cId="3214084867" sldId="2147483648"/>
            <pc:sldLayoutMk cId="4243779872" sldId="2147483656"/>
          </pc:sldLayoutMkLst>
        </pc:sldLayoutChg>
        <pc:sldLayoutChg chg="del">
          <pc:chgData name="Michelle Santibañez" userId="552c9fac-9363-411d-9972-22fea21bddb4" providerId="ADAL" clId="{94686AF3-8960-4962-9FE8-20C5E321C1FC}" dt="2022-09-01T22:19:06.116" v="7" actId="47"/>
          <pc:sldLayoutMkLst>
            <pc:docMk/>
            <pc:sldMasterMk cId="3214084867" sldId="2147483648"/>
            <pc:sldLayoutMk cId="3485000709" sldId="2147483657"/>
          </pc:sldLayoutMkLst>
        </pc:sldLayoutChg>
        <pc:sldLayoutChg chg="del">
          <pc:chgData name="Michelle Santibañez" userId="552c9fac-9363-411d-9972-22fea21bddb4" providerId="ADAL" clId="{94686AF3-8960-4962-9FE8-20C5E321C1FC}" dt="2022-09-01T22:19:06.116" v="7" actId="47"/>
          <pc:sldLayoutMkLst>
            <pc:docMk/>
            <pc:sldMasterMk cId="3214084867" sldId="2147483648"/>
            <pc:sldLayoutMk cId="2012735797" sldId="2147483658"/>
          </pc:sldLayoutMkLst>
        </pc:sldLayoutChg>
        <pc:sldLayoutChg chg="del">
          <pc:chgData name="Michelle Santibañez" userId="552c9fac-9363-411d-9972-22fea21bddb4" providerId="ADAL" clId="{94686AF3-8960-4962-9FE8-20C5E321C1FC}" dt="2022-09-01T22:19:06.116" v="7" actId="47"/>
          <pc:sldLayoutMkLst>
            <pc:docMk/>
            <pc:sldMasterMk cId="3214084867" sldId="2147483648"/>
            <pc:sldLayoutMk cId="1378414240" sldId="2147483659"/>
          </pc:sldLayoutMkLst>
        </pc:sldLayoutChg>
      </pc:sldMasterChg>
    </pc:docChg>
  </pc:docChgLst>
  <pc:docChgLst>
    <pc:chgData name="Michelle Santibañez" userId="552c9fac-9363-411d-9972-22fea21bddb4" providerId="ADAL" clId="{A6584B82-38D5-4BCE-916E-B55F5E7DFE2E}"/>
    <pc:docChg chg="undo custSel addSld delSld modSld modMainMaster">
      <pc:chgData name="Michelle Santibañez" userId="552c9fac-9363-411d-9972-22fea21bddb4" providerId="ADAL" clId="{A6584B82-38D5-4BCE-916E-B55F5E7DFE2E}" dt="2022-02-18T06:44:17.393" v="192" actId="700"/>
      <pc:docMkLst>
        <pc:docMk/>
      </pc:docMkLst>
      <pc:sldChg chg="modAnim">
        <pc:chgData name="Michelle Santibañez" userId="552c9fac-9363-411d-9972-22fea21bddb4" providerId="ADAL" clId="{A6584B82-38D5-4BCE-916E-B55F5E7DFE2E}" dt="2022-02-18T06:36:23.352" v="0"/>
        <pc:sldMkLst>
          <pc:docMk/>
          <pc:sldMk cId="2757907109" sldId="257"/>
        </pc:sldMkLst>
      </pc:sldChg>
      <pc:sldChg chg="addSp modSp mod modAnim">
        <pc:chgData name="Michelle Santibañez" userId="552c9fac-9363-411d-9972-22fea21bddb4" providerId="ADAL" clId="{A6584B82-38D5-4BCE-916E-B55F5E7DFE2E}" dt="2022-02-18T06:40:52.368" v="67"/>
        <pc:sldMkLst>
          <pc:docMk/>
          <pc:sldMk cId="2524656498" sldId="258"/>
        </pc:sldMkLst>
        <pc:spChg chg="mod">
          <ac:chgData name="Michelle Santibañez" userId="552c9fac-9363-411d-9972-22fea21bddb4" providerId="ADAL" clId="{A6584B82-38D5-4BCE-916E-B55F5E7DFE2E}" dt="2022-02-18T06:39:33.624" v="49" actId="14100"/>
          <ac:spMkLst>
            <pc:docMk/>
            <pc:sldMk cId="2524656498" sldId="258"/>
            <ac:spMk id="5" creationId="{DE4527E5-DD83-41B3-B82A-DD12429E9709}"/>
          </ac:spMkLst>
        </pc:spChg>
        <pc:spChg chg="mod">
          <ac:chgData name="Michelle Santibañez" userId="552c9fac-9363-411d-9972-22fea21bddb4" providerId="ADAL" clId="{A6584B82-38D5-4BCE-916E-B55F5E7DFE2E}" dt="2022-02-18T06:39:39.498" v="50" actId="1076"/>
          <ac:spMkLst>
            <pc:docMk/>
            <pc:sldMk cId="2524656498" sldId="258"/>
            <ac:spMk id="7" creationId="{54DE62F4-8678-46FA-BF6E-38E1F1E96FC2}"/>
          </ac:spMkLst>
        </pc:spChg>
        <pc:spChg chg="add">
          <ac:chgData name="Michelle Santibañez" userId="552c9fac-9363-411d-9972-22fea21bddb4" providerId="ADAL" clId="{A6584B82-38D5-4BCE-916E-B55F5E7DFE2E}" dt="2022-02-18T06:40:34.983" v="51" actId="11529"/>
          <ac:spMkLst>
            <pc:docMk/>
            <pc:sldMk cId="2524656498" sldId="258"/>
            <ac:spMk id="15" creationId="{256E2258-3C60-4F49-B0C5-2F135553FD56}"/>
          </ac:spMkLst>
        </pc:spChg>
        <pc:spChg chg="add mod">
          <ac:chgData name="Michelle Santibañez" userId="552c9fac-9363-411d-9972-22fea21bddb4" providerId="ADAL" clId="{A6584B82-38D5-4BCE-916E-B55F5E7DFE2E}" dt="2022-02-18T06:40:48.036" v="65" actId="1076"/>
          <ac:spMkLst>
            <pc:docMk/>
            <pc:sldMk cId="2524656498" sldId="258"/>
            <ac:spMk id="17" creationId="{B5899D27-F8BA-44D1-B0D9-61C5102D7F4B}"/>
          </ac:spMkLst>
        </pc:spChg>
        <pc:grpChg chg="mod">
          <ac:chgData name="Michelle Santibañez" userId="552c9fac-9363-411d-9972-22fea21bddb4" providerId="ADAL" clId="{A6584B82-38D5-4BCE-916E-B55F5E7DFE2E}" dt="2022-02-18T06:38:54.928" v="1" actId="1076"/>
          <ac:grpSpMkLst>
            <pc:docMk/>
            <pc:sldMk cId="2524656498" sldId="258"/>
            <ac:grpSpMk id="9" creationId="{430C1C06-7367-4E08-90BC-D665C0A8FC1F}"/>
          </ac:grpSpMkLst>
        </pc:grpChg>
        <pc:grpChg chg="add">
          <ac:chgData name="Michelle Santibañez" userId="552c9fac-9363-411d-9972-22fea21bddb4" providerId="ADAL" clId="{A6584B82-38D5-4BCE-916E-B55F5E7DFE2E}" dt="2022-02-18T06:40:49.281" v="66" actId="164"/>
          <ac:grpSpMkLst>
            <pc:docMk/>
            <pc:sldMk cId="2524656498" sldId="258"/>
            <ac:grpSpMk id="19" creationId="{90072D04-1E86-42EA-A900-0C9A2A983FFA}"/>
          </ac:grpSpMkLst>
        </pc:grpChg>
      </pc:sldChg>
      <pc:sldChg chg="modSp add del mod modClrScheme chgLayout">
        <pc:chgData name="Michelle Santibañez" userId="552c9fac-9363-411d-9972-22fea21bddb4" providerId="ADAL" clId="{A6584B82-38D5-4BCE-916E-B55F5E7DFE2E}" dt="2022-02-18T06:44:07.677" v="189" actId="700"/>
        <pc:sldMkLst>
          <pc:docMk/>
          <pc:sldMk cId="1086266910" sldId="1629"/>
        </pc:sldMkLst>
        <pc:spChg chg="mod ord">
          <ac:chgData name="Michelle Santibañez" userId="552c9fac-9363-411d-9972-22fea21bddb4" providerId="ADAL" clId="{A6584B82-38D5-4BCE-916E-B55F5E7DFE2E}" dt="2022-02-18T06:44:07.677" v="189" actId="700"/>
          <ac:spMkLst>
            <pc:docMk/>
            <pc:sldMk cId="1086266910" sldId="1629"/>
            <ac:spMk id="6" creationId="{00000000-0000-0000-0000-000000000000}"/>
          </ac:spMkLst>
        </pc:spChg>
      </pc:sldChg>
      <pc:sldChg chg="modSp add mod modClrScheme chgLayout">
        <pc:chgData name="Michelle Santibañez" userId="552c9fac-9363-411d-9972-22fea21bddb4" providerId="ADAL" clId="{A6584B82-38D5-4BCE-916E-B55F5E7DFE2E}" dt="2022-02-18T06:44:13.919" v="191" actId="700"/>
        <pc:sldMkLst>
          <pc:docMk/>
          <pc:sldMk cId="2140441472" sldId="1630"/>
        </pc:sldMkLst>
        <pc:spChg chg="mod ord">
          <ac:chgData name="Michelle Santibañez" userId="552c9fac-9363-411d-9972-22fea21bddb4" providerId="ADAL" clId="{A6584B82-38D5-4BCE-916E-B55F5E7DFE2E}" dt="2022-02-18T06:44:13.919" v="191" actId="700"/>
          <ac:spMkLst>
            <pc:docMk/>
            <pc:sldMk cId="2140441472" sldId="1630"/>
            <ac:spMk id="6" creationId="{00000000-0000-0000-0000-000000000000}"/>
          </ac:spMkLst>
        </pc:spChg>
      </pc:sldChg>
      <pc:sldChg chg="add del">
        <pc:chgData name="Michelle Santibañez" userId="552c9fac-9363-411d-9972-22fea21bddb4" providerId="ADAL" clId="{A6584B82-38D5-4BCE-916E-B55F5E7DFE2E}" dt="2022-02-18T06:41:48.775" v="88"/>
        <pc:sldMkLst>
          <pc:docMk/>
          <pc:sldMk cId="3023732263" sldId="1630"/>
        </pc:sldMkLst>
      </pc:sldChg>
      <pc:sldChg chg="modSp add mod modClrScheme chgLayout">
        <pc:chgData name="Michelle Santibañez" userId="552c9fac-9363-411d-9972-22fea21bddb4" providerId="ADAL" clId="{A6584B82-38D5-4BCE-916E-B55F5E7DFE2E}" dt="2022-02-18T06:44:17.393" v="192" actId="700"/>
        <pc:sldMkLst>
          <pc:docMk/>
          <pc:sldMk cId="543614401" sldId="1631"/>
        </pc:sldMkLst>
        <pc:spChg chg="mod ord">
          <ac:chgData name="Michelle Santibañez" userId="552c9fac-9363-411d-9972-22fea21bddb4" providerId="ADAL" clId="{A6584B82-38D5-4BCE-916E-B55F5E7DFE2E}" dt="2022-02-18T06:44:17.393" v="192" actId="700"/>
          <ac:spMkLst>
            <pc:docMk/>
            <pc:sldMk cId="543614401" sldId="1631"/>
            <ac:spMk id="6" creationId="{00000000-0000-0000-0000-000000000000}"/>
          </ac:spMkLst>
        </pc:spChg>
      </pc:sldChg>
      <pc:sldChg chg="add del">
        <pc:chgData name="Michelle Santibañez" userId="552c9fac-9363-411d-9972-22fea21bddb4" providerId="ADAL" clId="{A6584B82-38D5-4BCE-916E-B55F5E7DFE2E}" dt="2022-02-18T06:42:01.101" v="109"/>
        <pc:sldMkLst>
          <pc:docMk/>
          <pc:sldMk cId="1156310361" sldId="1631"/>
        </pc:sldMkLst>
      </pc:sldChg>
      <pc:sldChg chg="add del">
        <pc:chgData name="Michelle Santibañez" userId="552c9fac-9363-411d-9972-22fea21bddb4" providerId="ADAL" clId="{A6584B82-38D5-4BCE-916E-B55F5E7DFE2E}" dt="2022-02-18T06:42:39.968" v="123"/>
        <pc:sldMkLst>
          <pc:docMk/>
          <pc:sldMk cId="3681778392" sldId="2134805456"/>
        </pc:sldMkLst>
      </pc:sldChg>
      <pc:sldChg chg="new del">
        <pc:chgData name="Michelle Santibañez" userId="552c9fac-9363-411d-9972-22fea21bddb4" providerId="ADAL" clId="{A6584B82-38D5-4BCE-916E-B55F5E7DFE2E}" dt="2022-02-18T06:42:51.535" v="125" actId="680"/>
        <pc:sldMkLst>
          <pc:docMk/>
          <pc:sldMk cId="13695320" sldId="2134805457"/>
        </pc:sldMkLst>
      </pc:sldChg>
      <pc:sldChg chg="modSp new mod">
        <pc:chgData name="Michelle Santibañez" userId="552c9fac-9363-411d-9972-22fea21bddb4" providerId="ADAL" clId="{A6584B82-38D5-4BCE-916E-B55F5E7DFE2E}" dt="2022-02-18T06:43:51.043" v="187" actId="20577"/>
        <pc:sldMkLst>
          <pc:docMk/>
          <pc:sldMk cId="3668963524" sldId="2134805457"/>
        </pc:sldMkLst>
        <pc:spChg chg="mod">
          <ac:chgData name="Michelle Santibañez" userId="552c9fac-9363-411d-9972-22fea21bddb4" providerId="ADAL" clId="{A6584B82-38D5-4BCE-916E-B55F5E7DFE2E}" dt="2022-02-18T06:43:51.043" v="187" actId="20577"/>
          <ac:spMkLst>
            <pc:docMk/>
            <pc:sldMk cId="3668963524" sldId="2134805457"/>
            <ac:spMk id="2" creationId="{907500C6-ADEB-44C7-917D-1D3113CA924D}"/>
          </ac:spMkLst>
        </pc:spChg>
        <pc:spChg chg="mod">
          <ac:chgData name="Michelle Santibañez" userId="552c9fac-9363-411d-9972-22fea21bddb4" providerId="ADAL" clId="{A6584B82-38D5-4BCE-916E-B55F5E7DFE2E}" dt="2022-02-18T06:43:13.240" v="153" actId="20577"/>
          <ac:spMkLst>
            <pc:docMk/>
            <pc:sldMk cId="3668963524" sldId="2134805457"/>
            <ac:spMk id="3" creationId="{D444BC21-4E66-456E-AE64-932FF10E175F}"/>
          </ac:spMkLst>
        </pc:spChg>
      </pc:sldChg>
      <pc:sldMasterChg chg="modSldLayout">
        <pc:chgData name="Michelle Santibañez" userId="552c9fac-9363-411d-9972-22fea21bddb4" providerId="ADAL" clId="{A6584B82-38D5-4BCE-916E-B55F5E7DFE2E}" dt="2022-02-18T06:43:29.250" v="154" actId="478"/>
        <pc:sldMasterMkLst>
          <pc:docMk/>
          <pc:sldMasterMk cId="1205793551" sldId="2147483660"/>
        </pc:sldMasterMkLst>
        <pc:sldLayoutChg chg="delSp mod">
          <pc:chgData name="Michelle Santibañez" userId="552c9fac-9363-411d-9972-22fea21bddb4" providerId="ADAL" clId="{A6584B82-38D5-4BCE-916E-B55F5E7DFE2E}" dt="2022-02-18T06:43:29.250" v="154" actId="478"/>
          <pc:sldLayoutMkLst>
            <pc:docMk/>
            <pc:sldMasterMk cId="1205793551" sldId="2147483660"/>
            <pc:sldLayoutMk cId="1724200490" sldId="2147483661"/>
          </pc:sldLayoutMkLst>
          <pc:spChg chg="del">
            <ac:chgData name="Michelle Santibañez" userId="552c9fac-9363-411d-9972-22fea21bddb4" providerId="ADAL" clId="{A6584B82-38D5-4BCE-916E-B55F5E7DFE2E}" dt="2022-02-18T06:43:29.250" v="154" actId="478"/>
            <ac:spMkLst>
              <pc:docMk/>
              <pc:sldMasterMk cId="1205793551" sldId="2147483660"/>
              <pc:sldLayoutMk cId="1724200490" sldId="2147483661"/>
              <ac:spMk id="6" creationId="{00000000-0000-0000-0000-000000000000}"/>
            </ac:spMkLst>
          </pc:spChg>
        </pc:sldLayoutChg>
      </pc:sldMasterChg>
    </pc:docChg>
  </pc:docChgLst>
  <pc:docChgLst>
    <pc:chgData name="Michelle Santibañez" userId="552c9fac-9363-411d-9972-22fea21bddb4" providerId="ADAL" clId="{B46F8E96-0F41-45A6-8A7B-53836FAFE1F2}"/>
    <pc:docChg chg="addSld delSld modSld">
      <pc:chgData name="Michelle Santibañez" userId="552c9fac-9363-411d-9972-22fea21bddb4" providerId="ADAL" clId="{B46F8E96-0F41-45A6-8A7B-53836FAFE1F2}" dt="2022-03-03T21:26:14.459" v="4" actId="47"/>
      <pc:docMkLst>
        <pc:docMk/>
      </pc:docMkLst>
      <pc:sldChg chg="modSp add del mod">
        <pc:chgData name="Michelle Santibañez" userId="552c9fac-9363-411d-9972-22fea21bddb4" providerId="ADAL" clId="{B46F8E96-0F41-45A6-8A7B-53836FAFE1F2}" dt="2022-03-03T21:26:14.459" v="4" actId="47"/>
        <pc:sldMkLst>
          <pc:docMk/>
          <pc:sldMk cId="2571590346" sldId="2076136707"/>
        </pc:sldMkLst>
        <pc:spChg chg="mod">
          <ac:chgData name="Michelle Santibañez" userId="552c9fac-9363-411d-9972-22fea21bddb4" providerId="ADAL" clId="{B46F8E96-0F41-45A6-8A7B-53836FAFE1F2}" dt="2022-03-03T21:26:11.225" v="2" actId="6549"/>
          <ac:spMkLst>
            <pc:docMk/>
            <pc:sldMk cId="2571590346" sldId="2076136707"/>
            <ac:spMk id="5" creationId="{8E39041C-BC7B-4A1E-B1B6-E02575C93169}"/>
          </ac:spMkLst>
        </pc:spChg>
      </pc:sldChg>
      <pc:sldChg chg="add modTransition">
        <pc:chgData name="Michelle Santibañez" userId="552c9fac-9363-411d-9972-22fea21bddb4" providerId="ADAL" clId="{B46F8E96-0F41-45A6-8A7B-53836FAFE1F2}" dt="2022-03-03T21:25:59.968" v="0"/>
        <pc:sldMkLst>
          <pc:docMk/>
          <pc:sldMk cId="4096198554" sldId="2076136708"/>
        </pc:sldMkLst>
      </pc:sldChg>
      <pc:sldChg chg="add modTransition">
        <pc:chgData name="Michelle Santibañez" userId="552c9fac-9363-411d-9972-22fea21bddb4" providerId="ADAL" clId="{B46F8E96-0F41-45A6-8A7B-53836FAFE1F2}" dt="2022-03-03T21:25:59.968" v="0"/>
        <pc:sldMkLst>
          <pc:docMk/>
          <pc:sldMk cId="1089126518" sldId="2076136709"/>
        </pc:sldMkLst>
      </pc:sldChg>
      <pc:sldChg chg="add modTransition">
        <pc:chgData name="Michelle Santibañez" userId="552c9fac-9363-411d-9972-22fea21bddb4" providerId="ADAL" clId="{B46F8E96-0F41-45A6-8A7B-53836FAFE1F2}" dt="2022-03-03T21:25:59.968" v="0"/>
        <pc:sldMkLst>
          <pc:docMk/>
          <pc:sldMk cId="4031277341" sldId="2076136710"/>
        </pc:sldMkLst>
      </pc:sldChg>
      <pc:sldChg chg="add modTransition">
        <pc:chgData name="Michelle Santibañez" userId="552c9fac-9363-411d-9972-22fea21bddb4" providerId="ADAL" clId="{B46F8E96-0F41-45A6-8A7B-53836FAFE1F2}" dt="2022-03-03T21:25:59.968" v="0"/>
        <pc:sldMkLst>
          <pc:docMk/>
          <pc:sldMk cId="139927086" sldId="2076136711"/>
        </pc:sldMkLst>
      </pc:sldChg>
      <pc:sldChg chg="modSp add mod">
        <pc:chgData name="Michelle Santibañez" userId="552c9fac-9363-411d-9972-22fea21bddb4" providerId="ADAL" clId="{B46F8E96-0F41-45A6-8A7B-53836FAFE1F2}" dt="2022-03-03T21:26:12.931" v="3"/>
        <pc:sldMkLst>
          <pc:docMk/>
          <pc:sldMk cId="2535960751" sldId="2134805458"/>
        </pc:sldMkLst>
        <pc:spChg chg="mod">
          <ac:chgData name="Michelle Santibañez" userId="552c9fac-9363-411d-9972-22fea21bddb4" providerId="ADAL" clId="{B46F8E96-0F41-45A6-8A7B-53836FAFE1F2}" dt="2022-03-03T21:26:12.931" v="3"/>
          <ac:spMkLst>
            <pc:docMk/>
            <pc:sldMk cId="2535960751" sldId="2134805458"/>
            <ac:spMk id="6" creationId="{00000000-0000-0000-0000-000000000000}"/>
          </ac:spMkLst>
        </pc:spChg>
      </pc:sldChg>
      <pc:sldMasterChg chg="delSldLayout">
        <pc:chgData name="Michelle Santibañez" userId="552c9fac-9363-411d-9972-22fea21bddb4" providerId="ADAL" clId="{B46F8E96-0F41-45A6-8A7B-53836FAFE1F2}" dt="2022-03-03T21:26:14.459" v="4" actId="47"/>
        <pc:sldMasterMkLst>
          <pc:docMk/>
          <pc:sldMasterMk cId="1205793551" sldId="2147483660"/>
        </pc:sldMasterMkLst>
        <pc:sldLayoutChg chg="del">
          <pc:chgData name="Michelle Santibañez" userId="552c9fac-9363-411d-9972-22fea21bddb4" providerId="ADAL" clId="{B46F8E96-0F41-45A6-8A7B-53836FAFE1F2}" dt="2022-03-03T21:26:14.459" v="4" actId="47"/>
          <pc:sldLayoutMkLst>
            <pc:docMk/>
            <pc:sldMasterMk cId="1205793551" sldId="2147483660"/>
            <pc:sldLayoutMk cId="1987189710" sldId="2147483725"/>
          </pc:sldLayoutMkLst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P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0B533A3-6449-4428-B38F-C263C24431F8}" type="datetimeFigureOut">
              <a:rPr lang="es-PE" smtClean="0"/>
              <a:t>1/09/2022</a:t>
            </a:fld>
            <a:endParaRPr lang="es-P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P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P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P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EF18BBB-42FD-494B-B7D4-71F09569DC6B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8433701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1386954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1D6C8CD-29A0-473A-842F-DA3962B90E19}" type="datetime8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/2022 6:19 PM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7736591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1386954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1D6C8CD-29A0-473A-842F-DA3962B90E19}" type="datetime8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/2022 6:19 PM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8621900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1386954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1D6C8CD-29A0-473A-842F-DA3962B90E19}" type="datetime8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/2022 6:19 PM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3237285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1386954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1D6C8CD-29A0-473A-842F-DA3962B90E19}" type="datetime8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/2022 6:19 PM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795628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10.pn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3.xml"/><Relationship Id="rId4" Type="http://schemas.openxmlformats.org/officeDocument/2006/relationships/image" Target="../media/image1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8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1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6.xml"/><Relationship Id="rId4" Type="http://schemas.openxmlformats.org/officeDocument/2006/relationships/image" Target="../media/image1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3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0.png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6" Type="http://schemas.openxmlformats.org/officeDocument/2006/relationships/image" Target="../media/image11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4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0.png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5.bin"/><Relationship Id="rId4" Type="http://schemas.openxmlformats.org/officeDocument/2006/relationships/image" Target="../media/image12.jpeg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0.png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6.bin"/><Relationship Id="rId4" Type="http://schemas.openxmlformats.org/officeDocument/2006/relationships/image" Target="../media/image12.jpeg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0.png"/><Relationship Id="rId2" Type="http://schemas.openxmlformats.org/officeDocument/2006/relationships/tags" Target="../tags/tag66.xml"/><Relationship Id="rId1" Type="http://schemas.openxmlformats.org/officeDocument/2006/relationships/tags" Target="../tags/tag6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7.bin"/><Relationship Id="rId4" Type="http://schemas.openxmlformats.org/officeDocument/2006/relationships/image" Target="../media/image13.jpeg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0.png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6" Type="http://schemas.openxmlformats.org/officeDocument/2006/relationships/image" Target="../media/image1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8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0.png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6" Type="http://schemas.openxmlformats.org/officeDocument/2006/relationships/image" Target="../media/image1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9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0.png"/><Relationship Id="rId2" Type="http://schemas.openxmlformats.org/officeDocument/2006/relationships/tags" Target="../tags/tag72.xml"/><Relationship Id="rId1" Type="http://schemas.openxmlformats.org/officeDocument/2006/relationships/tags" Target="../tags/tag7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0.bin"/><Relationship Id="rId4" Type="http://schemas.openxmlformats.org/officeDocument/2006/relationships/image" Target="../media/image16.jpe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3.xml"/><Relationship Id="rId4" Type="http://schemas.openxmlformats.org/officeDocument/2006/relationships/image" Target="../media/image1.emf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5.xml"/><Relationship Id="rId1" Type="http://schemas.openxmlformats.org/officeDocument/2006/relationships/tags" Target="../tags/tag7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2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3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8.xml"/><Relationship Id="rId5" Type="http://schemas.openxmlformats.org/officeDocument/2006/relationships/image" Target="../media/image10.png"/><Relationship Id="rId4" Type="http://schemas.openxmlformats.org/officeDocument/2006/relationships/image" Target="../media/image1.emf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9.xml"/><Relationship Id="rId5" Type="http://schemas.openxmlformats.org/officeDocument/2006/relationships/image" Target="../media/image10.png"/><Relationship Id="rId4" Type="http://schemas.openxmlformats.org/officeDocument/2006/relationships/image" Target="../media/image1.emf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0.xml"/><Relationship Id="rId4" Type="http://schemas.openxmlformats.org/officeDocument/2006/relationships/image" Target="../media/image1.emf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7.bin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1684733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3" spc="-98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2" y="3479120"/>
            <a:ext cx="7171337" cy="1792326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36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48212" y="297562"/>
            <a:ext cx="1613565" cy="3456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42004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345719"/>
            <a:ext cx="5378548" cy="2377940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6"/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345719"/>
            <a:ext cx="5378548" cy="2377940"/>
          </a:xfrm>
        </p:spPr>
        <p:txBody>
          <a:bodyPr wrap="square">
            <a:spAutoFit/>
          </a:bodyPr>
          <a:lstStyle>
            <a:lvl1pPr marL="281623" indent="-281623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6"/>
            </a:lvl1pPr>
            <a:lvl2pPr marL="520602" indent="-228557">
              <a:defRPr sz="2353"/>
            </a:lvl2pPr>
            <a:lvl3pPr marL="685671" indent="-165070">
              <a:tabLst/>
              <a:defRPr sz="1961"/>
            </a:lvl3pPr>
            <a:lvl4pPr marL="863437" indent="-177767">
              <a:defRPr/>
            </a:lvl4pPr>
            <a:lvl5pPr marL="1028506" indent="-165070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4F43D520-3361-4B9E-B85E-0CE397E273A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610623"/>
            <a:ext cx="4114800" cy="15430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/>
              <a:t>Microsoft Confidential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5EDACA76-44DD-4854-A741-F1DA7A1E17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91639" y="6610623"/>
            <a:ext cx="351305" cy="15430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fld id="{18FEED8F-67A2-46EA-A24C-A41FAFDEBE6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2731929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8F9A47F3-4155-427F-AEC0-C004E95B37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610623"/>
            <a:ext cx="4114800" cy="15430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/>
              <a:t>Microsoft Confidential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5252373F-F64C-4459-81B7-C6BB8D51F47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91639" y="6610623"/>
            <a:ext cx="351305" cy="15430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fld id="{18FEED8F-67A2-46EA-A24C-A41FAFDEBE6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0968581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7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1" y="3877276"/>
            <a:ext cx="9860674" cy="778565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528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27826196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7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056" b="0" kern="1200" cap="none" spc="-98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40800364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683" y="2780567"/>
            <a:ext cx="8964248" cy="1296867"/>
          </a:xfrm>
          <a:noFill/>
        </p:spPr>
        <p:txBody>
          <a:bodyPr wrap="square" tIns="91440" bIns="91440" anchor="ctr" anchorCtr="0">
            <a:no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598422423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177" y="2779000"/>
            <a:ext cx="8964248" cy="1300000"/>
          </a:xfrm>
          <a:noFill/>
        </p:spPr>
        <p:txBody>
          <a:bodyPr wrap="square" tIns="91440" bIns="91440" anchor="ctr" anchorCtr="0">
            <a:no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441100013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177" y="2847911"/>
            <a:ext cx="8964248" cy="1162178"/>
          </a:xfrm>
          <a:noFill/>
        </p:spPr>
        <p:txBody>
          <a:bodyPr wrap="square" tIns="91440" bIns="91440" anchor="ctr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654277175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4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177" y="2847911"/>
            <a:ext cx="8964248" cy="1162178"/>
          </a:xfrm>
          <a:noFill/>
        </p:spPr>
        <p:txBody>
          <a:bodyPr wrap="square" tIns="91440" bIns="91440" anchor="ctr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521135960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5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683" y="2779000"/>
            <a:ext cx="8964248" cy="1300000"/>
          </a:xfrm>
          <a:noFill/>
        </p:spPr>
        <p:txBody>
          <a:bodyPr wrap="square" tIns="91440" bIns="91440" anchor="ctr" anchorCtr="0">
            <a:no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4169954528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8EB6547A-F4E4-4D83-B99A-5AA7C0BF7D6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610623"/>
            <a:ext cx="4114800" cy="15430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/>
              <a:t>Microsoft Confidential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36882A87-541F-4002-BDC8-893E1C01F8D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91639" y="6610623"/>
            <a:ext cx="351305" cy="15430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fld id="{18FEED8F-67A2-46EA-A24C-A41FAFDEBE6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9624265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" y="1336734"/>
            <a:ext cx="6095689" cy="5521266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" name="Rectangle 60"/>
          <p:cNvSpPr/>
          <p:nvPr userDrawn="1"/>
        </p:nvSpPr>
        <p:spPr>
          <a:xfrm>
            <a:off x="6096000" y="1337046"/>
            <a:ext cx="6096000" cy="3012768"/>
          </a:xfrm>
          <a:prstGeom prst="rect">
            <a:avLst/>
          </a:prstGeom>
          <a:solidFill>
            <a:srgbClr val="0078D8"/>
          </a:solidFill>
          <a:ln w="3175">
            <a:noFill/>
          </a:ln>
        </p:spPr>
        <p:txBody>
          <a:bodyPr lIns="89604" tIns="44802" rIns="89604" bIns="44802" rtlCol="0" anchor="ctr" anchorCtr="0">
            <a:noAutofit/>
          </a:bodyPr>
          <a:lstStyle/>
          <a:p>
            <a:pPr marL="0" marR="0" lvl="0" indent="0" algn="ctr" defTabSz="895234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75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ea typeface="Segoe UI" pitchFamily="34" charset="0"/>
              <a:cs typeface="Segoe UI Semibold" panose="020B0702040204020203" pitchFamily="34" charset="0"/>
            </a:endParaRPr>
          </a:p>
        </p:txBody>
      </p:sp>
      <p:sp>
        <p:nvSpPr>
          <p:cNvPr id="62" name="Rectangle 61"/>
          <p:cNvSpPr/>
          <p:nvPr userDrawn="1"/>
        </p:nvSpPr>
        <p:spPr>
          <a:xfrm>
            <a:off x="6096000" y="4351038"/>
            <a:ext cx="6096000" cy="986207"/>
          </a:xfrm>
          <a:prstGeom prst="rect">
            <a:avLst/>
          </a:prstGeom>
          <a:solidFill>
            <a:srgbClr val="0078D8">
              <a:lumMod val="50000"/>
            </a:srgbClr>
          </a:solidFill>
          <a:ln w="3175">
            <a:noFill/>
          </a:ln>
        </p:spPr>
        <p:txBody>
          <a:bodyPr lIns="89604" tIns="44802" rIns="89604" bIns="44802" rtlCol="0" anchor="ctr" anchorCtr="0">
            <a:noAutofit/>
          </a:bodyPr>
          <a:lstStyle/>
          <a:p>
            <a:pPr marL="0" marR="0" lvl="0" indent="0" algn="ctr" defTabSz="895234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75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ea typeface="Segoe UI" pitchFamily="34" charset="0"/>
              <a:cs typeface="Segoe UI Semibold" panose="020B0702040204020203" pitchFamily="34" charset="0"/>
            </a:endParaRPr>
          </a:p>
        </p:txBody>
      </p:sp>
      <p:sp>
        <p:nvSpPr>
          <p:cNvPr id="63" name="Freeform 17"/>
          <p:cNvSpPr>
            <a:spLocks noEditPoints="1"/>
          </p:cNvSpPr>
          <p:nvPr userDrawn="1"/>
        </p:nvSpPr>
        <p:spPr bwMode="auto">
          <a:xfrm>
            <a:off x="11074582" y="4509275"/>
            <a:ext cx="669206" cy="669733"/>
          </a:xfrm>
          <a:custGeom>
            <a:avLst/>
            <a:gdLst>
              <a:gd name="T0" fmla="*/ 327 w 655"/>
              <a:gd name="T1" fmla="*/ 0 h 656"/>
              <a:gd name="T2" fmla="*/ 0 w 655"/>
              <a:gd name="T3" fmla="*/ 328 h 656"/>
              <a:gd name="T4" fmla="*/ 327 w 655"/>
              <a:gd name="T5" fmla="*/ 656 h 656"/>
              <a:gd name="T6" fmla="*/ 655 w 655"/>
              <a:gd name="T7" fmla="*/ 328 h 656"/>
              <a:gd name="T8" fmla="*/ 327 w 655"/>
              <a:gd name="T9" fmla="*/ 0 h 656"/>
              <a:gd name="T10" fmla="*/ 401 w 655"/>
              <a:gd name="T11" fmla="*/ 467 h 656"/>
              <a:gd name="T12" fmla="*/ 375 w 655"/>
              <a:gd name="T13" fmla="*/ 493 h 656"/>
              <a:gd name="T14" fmla="*/ 349 w 655"/>
              <a:gd name="T15" fmla="*/ 467 h 656"/>
              <a:gd name="T16" fmla="*/ 349 w 655"/>
              <a:gd name="T17" fmla="*/ 430 h 656"/>
              <a:gd name="T18" fmla="*/ 401 w 655"/>
              <a:gd name="T19" fmla="*/ 430 h 656"/>
              <a:gd name="T20" fmla="*/ 401 w 655"/>
              <a:gd name="T21" fmla="*/ 467 h 656"/>
              <a:gd name="T22" fmla="*/ 479 w 655"/>
              <a:gd name="T23" fmla="*/ 475 h 656"/>
              <a:gd name="T24" fmla="*/ 442 w 655"/>
              <a:gd name="T25" fmla="*/ 437 h 656"/>
              <a:gd name="T26" fmla="*/ 465 w 655"/>
              <a:gd name="T27" fmla="*/ 415 h 656"/>
              <a:gd name="T28" fmla="*/ 419 w 655"/>
              <a:gd name="T29" fmla="*/ 415 h 656"/>
              <a:gd name="T30" fmla="*/ 419 w 655"/>
              <a:gd name="T31" fmla="*/ 415 h 656"/>
              <a:gd name="T32" fmla="*/ 333 w 655"/>
              <a:gd name="T33" fmla="*/ 415 h 656"/>
              <a:gd name="T34" fmla="*/ 333 w 655"/>
              <a:gd name="T35" fmla="*/ 415 h 656"/>
              <a:gd name="T36" fmla="*/ 272 w 655"/>
              <a:gd name="T37" fmla="*/ 415 h 656"/>
              <a:gd name="T38" fmla="*/ 143 w 655"/>
              <a:gd name="T39" fmla="*/ 286 h 656"/>
              <a:gd name="T40" fmla="*/ 272 w 655"/>
              <a:gd name="T41" fmla="*/ 157 h 656"/>
              <a:gd name="T42" fmla="*/ 401 w 655"/>
              <a:gd name="T43" fmla="*/ 286 h 656"/>
              <a:gd name="T44" fmla="*/ 401 w 655"/>
              <a:gd name="T45" fmla="*/ 347 h 656"/>
              <a:gd name="T46" fmla="*/ 349 w 655"/>
              <a:gd name="T47" fmla="*/ 347 h 656"/>
              <a:gd name="T48" fmla="*/ 349 w 655"/>
              <a:gd name="T49" fmla="*/ 286 h 656"/>
              <a:gd name="T50" fmla="*/ 272 w 655"/>
              <a:gd name="T51" fmla="*/ 209 h 656"/>
              <a:gd name="T52" fmla="*/ 196 w 655"/>
              <a:gd name="T53" fmla="*/ 286 h 656"/>
              <a:gd name="T54" fmla="*/ 272 w 655"/>
              <a:gd name="T55" fmla="*/ 363 h 656"/>
              <a:gd name="T56" fmla="*/ 333 w 655"/>
              <a:gd name="T57" fmla="*/ 363 h 656"/>
              <a:gd name="T58" fmla="*/ 349 w 655"/>
              <a:gd name="T59" fmla="*/ 363 h 656"/>
              <a:gd name="T60" fmla="*/ 401 w 655"/>
              <a:gd name="T61" fmla="*/ 363 h 656"/>
              <a:gd name="T62" fmla="*/ 419 w 655"/>
              <a:gd name="T63" fmla="*/ 363 h 656"/>
              <a:gd name="T64" fmla="*/ 465 w 655"/>
              <a:gd name="T65" fmla="*/ 363 h 656"/>
              <a:gd name="T66" fmla="*/ 442 w 655"/>
              <a:gd name="T67" fmla="*/ 341 h 656"/>
              <a:gd name="T68" fmla="*/ 479 w 655"/>
              <a:gd name="T69" fmla="*/ 304 h 656"/>
              <a:gd name="T70" fmla="*/ 566 w 655"/>
              <a:gd name="T71" fmla="*/ 389 h 656"/>
              <a:gd name="T72" fmla="*/ 479 w 655"/>
              <a:gd name="T73" fmla="*/ 475 h 6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655" h="656">
                <a:moveTo>
                  <a:pt x="327" y="0"/>
                </a:moveTo>
                <a:cubicBezTo>
                  <a:pt x="147" y="0"/>
                  <a:pt x="0" y="147"/>
                  <a:pt x="0" y="328"/>
                </a:cubicBezTo>
                <a:cubicBezTo>
                  <a:pt x="0" y="509"/>
                  <a:pt x="147" y="656"/>
                  <a:pt x="327" y="656"/>
                </a:cubicBezTo>
                <a:cubicBezTo>
                  <a:pt x="508" y="656"/>
                  <a:pt x="655" y="509"/>
                  <a:pt x="655" y="328"/>
                </a:cubicBezTo>
                <a:cubicBezTo>
                  <a:pt x="655" y="147"/>
                  <a:pt x="508" y="0"/>
                  <a:pt x="327" y="0"/>
                </a:cubicBezTo>
                <a:close/>
                <a:moveTo>
                  <a:pt x="401" y="467"/>
                </a:moveTo>
                <a:cubicBezTo>
                  <a:pt x="401" y="481"/>
                  <a:pt x="390" y="493"/>
                  <a:pt x="375" y="493"/>
                </a:cubicBezTo>
                <a:cubicBezTo>
                  <a:pt x="361" y="493"/>
                  <a:pt x="349" y="481"/>
                  <a:pt x="349" y="467"/>
                </a:cubicBezTo>
                <a:cubicBezTo>
                  <a:pt x="349" y="430"/>
                  <a:pt x="349" y="430"/>
                  <a:pt x="349" y="430"/>
                </a:cubicBezTo>
                <a:cubicBezTo>
                  <a:pt x="401" y="430"/>
                  <a:pt x="401" y="430"/>
                  <a:pt x="401" y="430"/>
                </a:cubicBezTo>
                <a:lnTo>
                  <a:pt x="401" y="467"/>
                </a:lnTo>
                <a:close/>
                <a:moveTo>
                  <a:pt x="479" y="475"/>
                </a:moveTo>
                <a:cubicBezTo>
                  <a:pt x="442" y="437"/>
                  <a:pt x="442" y="437"/>
                  <a:pt x="442" y="437"/>
                </a:cubicBezTo>
                <a:cubicBezTo>
                  <a:pt x="465" y="415"/>
                  <a:pt x="465" y="415"/>
                  <a:pt x="465" y="415"/>
                </a:cubicBezTo>
                <a:cubicBezTo>
                  <a:pt x="419" y="415"/>
                  <a:pt x="419" y="415"/>
                  <a:pt x="419" y="415"/>
                </a:cubicBezTo>
                <a:cubicBezTo>
                  <a:pt x="419" y="415"/>
                  <a:pt x="419" y="415"/>
                  <a:pt x="419" y="415"/>
                </a:cubicBezTo>
                <a:cubicBezTo>
                  <a:pt x="333" y="415"/>
                  <a:pt x="333" y="415"/>
                  <a:pt x="333" y="415"/>
                </a:cubicBezTo>
                <a:cubicBezTo>
                  <a:pt x="333" y="415"/>
                  <a:pt x="333" y="415"/>
                  <a:pt x="333" y="415"/>
                </a:cubicBezTo>
                <a:cubicBezTo>
                  <a:pt x="272" y="415"/>
                  <a:pt x="272" y="415"/>
                  <a:pt x="272" y="415"/>
                </a:cubicBezTo>
                <a:cubicBezTo>
                  <a:pt x="201" y="415"/>
                  <a:pt x="143" y="357"/>
                  <a:pt x="143" y="286"/>
                </a:cubicBezTo>
                <a:cubicBezTo>
                  <a:pt x="143" y="215"/>
                  <a:pt x="201" y="157"/>
                  <a:pt x="272" y="157"/>
                </a:cubicBezTo>
                <a:cubicBezTo>
                  <a:pt x="344" y="157"/>
                  <a:pt x="401" y="215"/>
                  <a:pt x="401" y="286"/>
                </a:cubicBezTo>
                <a:cubicBezTo>
                  <a:pt x="401" y="347"/>
                  <a:pt x="401" y="347"/>
                  <a:pt x="401" y="347"/>
                </a:cubicBezTo>
                <a:cubicBezTo>
                  <a:pt x="349" y="347"/>
                  <a:pt x="349" y="347"/>
                  <a:pt x="349" y="347"/>
                </a:cubicBezTo>
                <a:cubicBezTo>
                  <a:pt x="349" y="286"/>
                  <a:pt x="349" y="286"/>
                  <a:pt x="349" y="286"/>
                </a:cubicBezTo>
                <a:cubicBezTo>
                  <a:pt x="349" y="244"/>
                  <a:pt x="315" y="209"/>
                  <a:pt x="272" y="209"/>
                </a:cubicBezTo>
                <a:cubicBezTo>
                  <a:pt x="230" y="209"/>
                  <a:pt x="196" y="244"/>
                  <a:pt x="196" y="286"/>
                </a:cubicBezTo>
                <a:cubicBezTo>
                  <a:pt x="196" y="329"/>
                  <a:pt x="230" y="363"/>
                  <a:pt x="272" y="363"/>
                </a:cubicBezTo>
                <a:cubicBezTo>
                  <a:pt x="333" y="363"/>
                  <a:pt x="333" y="363"/>
                  <a:pt x="333" y="363"/>
                </a:cubicBezTo>
                <a:cubicBezTo>
                  <a:pt x="349" y="363"/>
                  <a:pt x="349" y="363"/>
                  <a:pt x="349" y="363"/>
                </a:cubicBezTo>
                <a:cubicBezTo>
                  <a:pt x="401" y="363"/>
                  <a:pt x="401" y="363"/>
                  <a:pt x="401" y="363"/>
                </a:cubicBezTo>
                <a:cubicBezTo>
                  <a:pt x="419" y="363"/>
                  <a:pt x="419" y="363"/>
                  <a:pt x="419" y="363"/>
                </a:cubicBezTo>
                <a:cubicBezTo>
                  <a:pt x="465" y="363"/>
                  <a:pt x="465" y="363"/>
                  <a:pt x="465" y="363"/>
                </a:cubicBezTo>
                <a:cubicBezTo>
                  <a:pt x="442" y="341"/>
                  <a:pt x="442" y="341"/>
                  <a:pt x="442" y="341"/>
                </a:cubicBezTo>
                <a:cubicBezTo>
                  <a:pt x="479" y="304"/>
                  <a:pt x="479" y="304"/>
                  <a:pt x="479" y="304"/>
                </a:cubicBezTo>
                <a:cubicBezTo>
                  <a:pt x="566" y="389"/>
                  <a:pt x="566" y="389"/>
                  <a:pt x="566" y="389"/>
                </a:cubicBezTo>
                <a:lnTo>
                  <a:pt x="479" y="475"/>
                </a:lnTo>
                <a:close/>
              </a:path>
            </a:pathLst>
          </a:custGeom>
          <a:solidFill>
            <a:srgbClr val="FFFFF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92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6096000" y="1946885"/>
            <a:ext cx="5647788" cy="1793090"/>
          </a:xfrm>
          <a:noFill/>
        </p:spPr>
        <p:txBody>
          <a:bodyPr lIns="146304" tIns="91440" rIns="146304" bIns="91440" anchor="ctr" anchorCtr="0"/>
          <a:lstStyle>
            <a:lvl1pPr>
              <a:defRPr sz="5293" spc="-98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6096002" y="4509695"/>
            <a:ext cx="4408978" cy="669314"/>
          </a:xfrm>
          <a:noFill/>
        </p:spPr>
        <p:txBody>
          <a:bodyPr lIns="146304" tIns="109728" rIns="146304" bIns="109728" anchor="ctr">
            <a:noAutofit/>
          </a:bodyPr>
          <a:lstStyle>
            <a:lvl1pPr marL="0" indent="0">
              <a:spcBef>
                <a:spcPts val="0"/>
              </a:spcBef>
              <a:buNone/>
              <a:defRPr sz="3136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66" name="Picture 65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448212" y="253712"/>
            <a:ext cx="1628662" cy="358621"/>
          </a:xfrm>
          <a:prstGeom prst="rect">
            <a:avLst/>
          </a:prstGeom>
        </p:spPr>
      </p:pic>
      <p:sp>
        <p:nvSpPr>
          <p:cNvPr id="6" name="Text Placeholder 2"/>
          <p:cNvSpPr txBox="1">
            <a:spLocks/>
          </p:cNvSpPr>
          <p:nvPr userDrawn="1"/>
        </p:nvSpPr>
        <p:spPr bwMode="auto">
          <a:xfrm>
            <a:off x="6240735" y="6104015"/>
            <a:ext cx="2462058" cy="33061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marL="0" marR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3200" kern="1200" spc="0" baseline="0">
                <a:gradFill>
                  <a:gsLst>
                    <a:gs pos="4040">
                      <a:srgbClr val="525252"/>
                    </a:gs>
                    <a:gs pos="17000">
                      <a:srgbClr val="525252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84200" marR="0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8001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0287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73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sz="1765" b="0">
                <a:solidFill>
                  <a:schemeClr val="bg1"/>
                </a:solidFill>
                <a:latin typeface="+mn-lt"/>
              </a:rPr>
              <a:t>Microsoft Services</a:t>
            </a:r>
          </a:p>
        </p:txBody>
      </p:sp>
    </p:spTree>
    <p:extLst>
      <p:ext uri="{BB962C8B-B14F-4D97-AF65-F5344CB8AC3E}">
        <p14:creationId xmlns:p14="http://schemas.microsoft.com/office/powerpoint/2010/main" val="2923956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579634896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534601649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783518285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15" tIns="45715" rIns="45715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spcBef>
                <a:spcPct val="0"/>
              </a:spcBef>
              <a:spcAft>
                <a:spcPct val="0"/>
              </a:spcAft>
            </a:pPr>
            <a:endParaRPr lang="en-US" sz="1765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3"/>
            <a:ext cx="11653522" cy="1956973"/>
          </a:xfrm>
        </p:spPr>
        <p:txBody>
          <a:bodyPr/>
          <a:lstStyle>
            <a:lvl1pPr marL="0" indent="0">
              <a:buNone/>
              <a:defRPr sz="3234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1pPr>
            <a:lvl2pPr marL="339661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2pPr>
            <a:lvl3pPr marL="572979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3pPr>
            <a:lvl4pPr marL="798362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4pPr>
            <a:lvl5pPr marL="1030094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B6CD7303-7DA8-4C76-BD7D-F1B94CE3A57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610623"/>
            <a:ext cx="4114800" cy="15430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/>
              <a:t>Microsoft Confidential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653179AF-4CC5-4BDF-854D-B8943093731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91639" y="6610623"/>
            <a:ext cx="351305" cy="15430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fld id="{18FEED8F-67A2-46EA-A24C-A41FAFDEBE6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4476820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39" y="6171617"/>
            <a:ext cx="11653522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59" tIns="143407" rIns="179259" bIns="143407" numCol="1" anchor="t" anchorCtr="0" compatLnSpc="1">
            <a:prstTxWarp prst="textNoShape">
              <a:avLst/>
            </a:prstTxWarp>
            <a:spAutoFit/>
          </a:bodyPr>
          <a:lstStyle/>
          <a:p>
            <a:pPr defTabSz="913748" eaLnBrk="0" hangingPunct="0"/>
            <a:r>
              <a:rPr lang="en-US" sz="686">
                <a:solidFill>
                  <a:schemeClr val="tx1"/>
                </a:solidFill>
                <a:cs typeface="Segoe UI" pitchFamily="34" charset="0"/>
              </a:rPr>
              <a:t>© 2015 Microsoft Corporation. All rights reserved. 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50202" y="3083654"/>
            <a:ext cx="3223861" cy="6906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0740557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40" y="1189178"/>
            <a:ext cx="11653523" cy="2396047"/>
          </a:xfrm>
          <a:prstGeom prst="rect">
            <a:avLst/>
          </a:prstGeom>
        </p:spPr>
        <p:txBody>
          <a:bodyPr/>
          <a:lstStyle>
            <a:lvl1pPr marL="284735" indent="-284735">
              <a:buClr>
                <a:schemeClr val="tx1"/>
              </a:buClr>
              <a:buSzPct val="90000"/>
              <a:buFont typeface="Arial" pitchFamily="34" charset="0"/>
              <a:buChar char="•"/>
              <a:defRPr sz="3528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134" indent="-275401">
              <a:buClr>
                <a:schemeClr val="tx1"/>
              </a:buClr>
              <a:buSzPct val="90000"/>
              <a:buFont typeface="Arial" pitchFamily="34" charset="0"/>
              <a:buChar char="•"/>
              <a:defRPr sz="3136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4869" indent="-284735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8923" indent="-224054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2976" indent="-224054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6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   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85414779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with photo and t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7">
            <a:extLst>
              <a:ext uri="{FF2B5EF4-FFF2-40B4-BE49-F238E27FC236}">
                <a16:creationId xmlns:a16="http://schemas.microsoft.com/office/drawing/2014/main" id="{DAB03676-07F7-420B-B21F-02A18401877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06" b="7806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auto">
          <a:xfrm>
            <a:off x="267682" y="2084171"/>
            <a:ext cx="6274974" cy="3586208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303" y="2077813"/>
            <a:ext cx="6274911" cy="1793104"/>
          </a:xfrm>
          <a:noFill/>
        </p:spPr>
        <p:txBody>
          <a:bodyPr lIns="146304" tIns="91440" rIns="146304" bIns="91440" anchor="t" anchorCtr="0"/>
          <a:lstStyle>
            <a:lvl1pPr>
              <a:defRPr sz="4704" spc="-98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7683" y="3877277"/>
            <a:ext cx="6276530" cy="651821"/>
          </a:xfrm>
          <a:noFill/>
        </p:spPr>
        <p:txBody>
          <a:bodyPr wrap="square" lIns="164592" tIns="109728" rIns="164592" bIns="109728">
            <a:spAutoFit/>
          </a:bodyPr>
          <a:lstStyle>
            <a:lvl1pPr marL="0" indent="0">
              <a:spcBef>
                <a:spcPts val="0"/>
              </a:spcBef>
              <a:buNone/>
              <a:defRPr sz="3136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D1029929-476A-4C42-8E0B-40FCCE92171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51632" y="6111775"/>
            <a:ext cx="1422800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82386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906110" y="6556855"/>
            <a:ext cx="139862" cy="1357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>
              <a:defRPr lang="en-US" sz="882" smtClean="0">
                <a:solidFill>
                  <a:schemeClr val="bg1"/>
                </a:solidFill>
              </a:defRPr>
            </a:lvl1pPr>
          </a:lstStyle>
          <a:p>
            <a:pPr defTabSz="914225">
              <a:defRPr/>
            </a:pPr>
            <a:fld id="{4F6BF59E-C7AB-4D2C-B602-9844A5FEE556}" type="slidenum">
              <a:rPr lang="es-PE" smtClean="0">
                <a:solidFill>
                  <a:srgbClr val="505050"/>
                </a:solidFill>
              </a:rPr>
              <a:pPr defTabSz="914225">
                <a:defRPr/>
              </a:pPr>
              <a:t>‹#›</a:t>
            </a:fld>
            <a:endParaRPr lang="es-PE">
              <a:solidFill>
                <a:srgbClr val="505050"/>
              </a:solidFill>
            </a:endParaRP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69241" y="957259"/>
            <a:ext cx="11653523" cy="452654"/>
          </a:xfrm>
        </p:spPr>
        <p:txBody>
          <a:bodyPr lIns="146304" tIns="91440" rIns="146304" bIns="91440"/>
          <a:lstStyle>
            <a:lvl1pPr marL="0" indent="0">
              <a:buNone/>
              <a:defRPr sz="1961">
                <a:latin typeface="+mn-lt"/>
              </a:defRPr>
            </a:lvl1pPr>
            <a:lvl2pPr>
              <a:defRPr sz="1961">
                <a:latin typeface="+mn-lt"/>
              </a:defRPr>
            </a:lvl2pPr>
            <a:lvl3pPr>
              <a:defRPr sz="1765">
                <a:latin typeface="+mn-lt"/>
              </a:defRPr>
            </a:lvl3pPr>
            <a:lvl4pPr>
              <a:defRPr sz="1567">
                <a:latin typeface="+mn-lt"/>
              </a:defRPr>
            </a:lvl4pPr>
            <a:lvl5pPr>
              <a:defRPr sz="1567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281124" y="6556882"/>
            <a:ext cx="1109279" cy="13574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 lang="en-US" sz="882" smtClean="0">
                <a:solidFill>
                  <a:schemeClr val="bg1"/>
                </a:solidFill>
              </a:defRPr>
            </a:lvl1pPr>
          </a:lstStyle>
          <a:p>
            <a:pPr defTabSz="914225">
              <a:defRPr/>
            </a:pPr>
            <a:r>
              <a:rPr lang="es-PE">
                <a:solidFill>
                  <a:srgbClr val="505050"/>
                </a:solidFill>
              </a:rPr>
              <a:t>Microsoft Confidential</a:t>
            </a:r>
          </a:p>
        </p:txBody>
      </p:sp>
    </p:spTree>
    <p:extLst>
      <p:ext uri="{BB962C8B-B14F-4D97-AF65-F5344CB8AC3E}">
        <p14:creationId xmlns:p14="http://schemas.microsoft.com/office/powerpoint/2010/main" val="726095892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-sub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02969DA-8767-496C-9F53-85609611FA50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000" b="0" i="0" baseline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bold" panose="020B0702040204020203" pitchFamily="34" charset="0"/>
              <a:ea typeface="+mn-ea"/>
              <a:cs typeface="Segoe UI" pitchFamily="34" charset="0"/>
              <a:sym typeface="Segoe UI Semibold" panose="020B07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8212" y="253713"/>
            <a:ext cx="11292463" cy="9354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48181" y="957258"/>
            <a:ext cx="11290217" cy="492443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2000">
                <a:solidFill>
                  <a:schemeClr val="bg1"/>
                </a:solidFill>
                <a:latin typeface="+mn-lt"/>
              </a:defRPr>
            </a:lvl1pPr>
            <a:lvl2pPr>
              <a:defRPr sz="1961">
                <a:latin typeface="+mn-lt"/>
              </a:defRPr>
            </a:lvl2pPr>
            <a:lvl3pPr>
              <a:defRPr sz="1765">
                <a:latin typeface="+mn-lt"/>
              </a:defRPr>
            </a:lvl3pPr>
            <a:lvl4pPr>
              <a:defRPr sz="1567">
                <a:latin typeface="+mn-lt"/>
              </a:defRPr>
            </a:lvl4pPr>
            <a:lvl5pPr>
              <a:defRPr sz="1567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Footer Placeholder 6">
            <a:extLst>
              <a:ext uri="{FF2B5EF4-FFF2-40B4-BE49-F238E27FC236}">
                <a16:creationId xmlns:a16="http://schemas.microsoft.com/office/drawing/2014/main" id="{0E1E7B02-989E-43A0-9DAB-B3C009EA7EF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0593" y="6592226"/>
            <a:ext cx="1867552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lang="en-US" sz="800" smtClean="0">
                <a:solidFill>
                  <a:schemeClr val="bg1"/>
                </a:solidFill>
              </a:defRPr>
            </a:lvl1pPr>
          </a:lstStyle>
          <a:p>
            <a:r>
              <a:rPr lang="en-IN"/>
              <a:t>Microsoft Confidential</a:t>
            </a:r>
          </a:p>
        </p:txBody>
      </p:sp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516B1BD4-7906-424A-8328-DD99C482FC5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879420" y="6585883"/>
            <a:ext cx="139862" cy="1357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>
              <a:defRPr lang="en-US" sz="800" smtClean="0">
                <a:solidFill>
                  <a:schemeClr val="bg1"/>
                </a:solidFill>
              </a:defRPr>
            </a:lvl1pPr>
          </a:lstStyle>
          <a:p>
            <a:pPr algn="r"/>
            <a:fld id="{4F6BF59E-C7AB-4D2C-B602-9844A5FEE556}" type="slidenum">
              <a:rPr lang="en-IN" smtClean="0"/>
              <a:pPr algn="r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073518400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F9E940D-12A8-495F-9BA0-72F1AE91BEE9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000" b="0" i="0" baseline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bold" panose="020B0702040204020203" pitchFamily="34" charset="0"/>
              <a:ea typeface="+mn-ea"/>
              <a:cs typeface="Segoe UI" pitchFamily="34" charset="0"/>
              <a:sym typeface="Segoe UI Semibold" panose="020B0702040204020203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48212" y="1178277"/>
            <a:ext cx="11292463" cy="5134943"/>
          </a:xfrm>
        </p:spPr>
        <p:txBody>
          <a:bodyPr wrap="square" lIns="146304" rIns="146304">
            <a:noAutofit/>
          </a:bodyPr>
          <a:lstStyle>
            <a:lvl1pPr marL="278511" indent="-278511">
              <a:lnSpc>
                <a:spcPct val="100000"/>
              </a:lnSpc>
              <a:spcBef>
                <a:spcPts val="1175"/>
              </a:spcBef>
              <a:buClr>
                <a:schemeClr val="bg2"/>
              </a:buClr>
              <a:buFont typeface="+mj-lt"/>
              <a:buAutoNum type="arabicPeriod"/>
              <a:defRPr sz="1765">
                <a:solidFill>
                  <a:schemeClr val="bg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1CAA613E-EFB0-4FCD-A16C-5654549C1F0B}"/>
              </a:ext>
            </a:extLst>
          </p:cNvPr>
          <p:cNvSpPr/>
          <p:nvPr userDrawn="1"/>
        </p:nvSpPr>
        <p:spPr bwMode="auto">
          <a:xfrm>
            <a:off x="448212" y="1178277"/>
            <a:ext cx="11292463" cy="5134943"/>
          </a:xfrm>
          <a:custGeom>
            <a:avLst/>
            <a:gdLst>
              <a:gd name="connsiteX0" fmla="*/ 0 w 11518900"/>
              <a:gd name="connsiteY0" fmla="*/ 0 h 5237166"/>
              <a:gd name="connsiteX1" fmla="*/ 11518900 w 11518900"/>
              <a:gd name="connsiteY1" fmla="*/ 0 h 5237166"/>
              <a:gd name="connsiteX2" fmla="*/ 11518900 w 11518900"/>
              <a:gd name="connsiteY2" fmla="*/ 5237166 h 5237166"/>
              <a:gd name="connsiteX3" fmla="*/ 0 w 11518900"/>
              <a:gd name="connsiteY3" fmla="*/ 5237166 h 5237166"/>
              <a:gd name="connsiteX4" fmla="*/ 0 w 11518900"/>
              <a:gd name="connsiteY4" fmla="*/ 5217916 h 5237166"/>
              <a:gd name="connsiteX5" fmla="*/ 1833613 w 11518900"/>
              <a:gd name="connsiteY5" fmla="*/ 5217916 h 5237166"/>
              <a:gd name="connsiteX6" fmla="*/ 1833613 w 11518900"/>
              <a:gd name="connsiteY6" fmla="*/ 4591057 h 5237166"/>
              <a:gd name="connsiteX7" fmla="*/ 0 w 11518900"/>
              <a:gd name="connsiteY7" fmla="*/ 4591057 h 5237166"/>
              <a:gd name="connsiteX0" fmla="*/ 1833613 w 11518900"/>
              <a:gd name="connsiteY0" fmla="*/ 4591057 h 5237166"/>
              <a:gd name="connsiteX1" fmla="*/ 0 w 11518900"/>
              <a:gd name="connsiteY1" fmla="*/ 4591057 h 5237166"/>
              <a:gd name="connsiteX2" fmla="*/ 0 w 11518900"/>
              <a:gd name="connsiteY2" fmla="*/ 0 h 5237166"/>
              <a:gd name="connsiteX3" fmla="*/ 11518900 w 11518900"/>
              <a:gd name="connsiteY3" fmla="*/ 0 h 5237166"/>
              <a:gd name="connsiteX4" fmla="*/ 11518900 w 11518900"/>
              <a:gd name="connsiteY4" fmla="*/ 5237166 h 5237166"/>
              <a:gd name="connsiteX5" fmla="*/ 0 w 11518900"/>
              <a:gd name="connsiteY5" fmla="*/ 5237166 h 5237166"/>
              <a:gd name="connsiteX6" fmla="*/ 0 w 11518900"/>
              <a:gd name="connsiteY6" fmla="*/ 5217916 h 5237166"/>
              <a:gd name="connsiteX7" fmla="*/ 1833613 w 11518900"/>
              <a:gd name="connsiteY7" fmla="*/ 5217916 h 5237166"/>
              <a:gd name="connsiteX8" fmla="*/ 1925053 w 11518900"/>
              <a:gd name="connsiteY8" fmla="*/ 4682497 h 5237166"/>
              <a:gd name="connsiteX0" fmla="*/ 1833613 w 11518900"/>
              <a:gd name="connsiteY0" fmla="*/ 4591057 h 5237166"/>
              <a:gd name="connsiteX1" fmla="*/ 0 w 11518900"/>
              <a:gd name="connsiteY1" fmla="*/ 4591057 h 5237166"/>
              <a:gd name="connsiteX2" fmla="*/ 0 w 11518900"/>
              <a:gd name="connsiteY2" fmla="*/ 0 h 5237166"/>
              <a:gd name="connsiteX3" fmla="*/ 11518900 w 11518900"/>
              <a:gd name="connsiteY3" fmla="*/ 0 h 5237166"/>
              <a:gd name="connsiteX4" fmla="*/ 11518900 w 11518900"/>
              <a:gd name="connsiteY4" fmla="*/ 5237166 h 5237166"/>
              <a:gd name="connsiteX5" fmla="*/ 0 w 11518900"/>
              <a:gd name="connsiteY5" fmla="*/ 5237166 h 5237166"/>
              <a:gd name="connsiteX6" fmla="*/ 0 w 11518900"/>
              <a:gd name="connsiteY6" fmla="*/ 5217916 h 5237166"/>
              <a:gd name="connsiteX7" fmla="*/ 1833613 w 11518900"/>
              <a:gd name="connsiteY7" fmla="*/ 5217916 h 5237166"/>
              <a:gd name="connsiteX0" fmla="*/ 1833613 w 11518900"/>
              <a:gd name="connsiteY0" fmla="*/ 4591057 h 5237166"/>
              <a:gd name="connsiteX1" fmla="*/ 0 w 11518900"/>
              <a:gd name="connsiteY1" fmla="*/ 4591057 h 5237166"/>
              <a:gd name="connsiteX2" fmla="*/ 0 w 11518900"/>
              <a:gd name="connsiteY2" fmla="*/ 0 h 5237166"/>
              <a:gd name="connsiteX3" fmla="*/ 11518900 w 11518900"/>
              <a:gd name="connsiteY3" fmla="*/ 0 h 5237166"/>
              <a:gd name="connsiteX4" fmla="*/ 11518900 w 11518900"/>
              <a:gd name="connsiteY4" fmla="*/ 5237166 h 5237166"/>
              <a:gd name="connsiteX5" fmla="*/ 0 w 11518900"/>
              <a:gd name="connsiteY5" fmla="*/ 5237166 h 5237166"/>
              <a:gd name="connsiteX6" fmla="*/ 0 w 11518900"/>
              <a:gd name="connsiteY6" fmla="*/ 5217916 h 5237166"/>
              <a:gd name="connsiteX0" fmla="*/ 0 w 11518900"/>
              <a:gd name="connsiteY0" fmla="*/ 4591057 h 5237166"/>
              <a:gd name="connsiteX1" fmla="*/ 0 w 11518900"/>
              <a:gd name="connsiteY1" fmla="*/ 0 h 5237166"/>
              <a:gd name="connsiteX2" fmla="*/ 11518900 w 11518900"/>
              <a:gd name="connsiteY2" fmla="*/ 0 h 5237166"/>
              <a:gd name="connsiteX3" fmla="*/ 11518900 w 11518900"/>
              <a:gd name="connsiteY3" fmla="*/ 5237166 h 5237166"/>
              <a:gd name="connsiteX4" fmla="*/ 0 w 11518900"/>
              <a:gd name="connsiteY4" fmla="*/ 5237166 h 5237166"/>
              <a:gd name="connsiteX5" fmla="*/ 0 w 11518900"/>
              <a:gd name="connsiteY5" fmla="*/ 5217916 h 5237166"/>
              <a:gd name="connsiteX0" fmla="*/ 0 w 11518900"/>
              <a:gd name="connsiteY0" fmla="*/ 4591057 h 5237166"/>
              <a:gd name="connsiteX1" fmla="*/ 0 w 11518900"/>
              <a:gd name="connsiteY1" fmla="*/ 0 h 5237166"/>
              <a:gd name="connsiteX2" fmla="*/ 11518900 w 11518900"/>
              <a:gd name="connsiteY2" fmla="*/ 0 h 5237166"/>
              <a:gd name="connsiteX3" fmla="*/ 11518900 w 11518900"/>
              <a:gd name="connsiteY3" fmla="*/ 5237166 h 5237166"/>
              <a:gd name="connsiteX4" fmla="*/ 0 w 11518900"/>
              <a:gd name="connsiteY4" fmla="*/ 5237166 h 52371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518900" h="5237166">
                <a:moveTo>
                  <a:pt x="0" y="4591057"/>
                </a:moveTo>
                <a:lnTo>
                  <a:pt x="0" y="0"/>
                </a:lnTo>
                <a:lnTo>
                  <a:pt x="11518900" y="0"/>
                </a:lnTo>
                <a:lnTo>
                  <a:pt x="11518900" y="5237166"/>
                </a:lnTo>
                <a:lnTo>
                  <a:pt x="0" y="5237166"/>
                </a:lnTo>
              </a:path>
            </a:pathLst>
          </a:custGeom>
          <a:noFill/>
          <a:ln w="15875">
            <a:solidFill>
              <a:schemeClr val="accent1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96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6" name="Slide Number Placeholder 4">
            <a:extLst>
              <a:ext uri="{FF2B5EF4-FFF2-40B4-BE49-F238E27FC236}">
                <a16:creationId xmlns:a16="http://schemas.microsoft.com/office/drawing/2014/main" id="{64DCB890-7EB1-448E-8438-883CF1FB03A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879420" y="6585883"/>
            <a:ext cx="139862" cy="1357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>
              <a:defRPr lang="en-US" sz="784" smtClean="0">
                <a:solidFill>
                  <a:schemeClr val="bg1"/>
                </a:solidFill>
              </a:defRPr>
            </a:lvl1pPr>
          </a:lstStyle>
          <a:p>
            <a:pPr algn="r"/>
            <a:fld id="{4F6BF59E-C7AB-4D2C-B602-9844A5FEE556}" type="slidenum">
              <a:rPr lang="en-IN" smtClean="0"/>
              <a:pPr algn="r"/>
              <a:t>‹#›</a:t>
            </a:fld>
            <a:endParaRPr lang="en-IN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7F4F5384-F3C4-40FE-984F-F34B43F615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C0959346-EAEC-48BB-87EC-FB1785C1FB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Microsoft Confidential</a:t>
            </a:r>
            <a:endParaRPr lang="en-IN" sz="784"/>
          </a:p>
        </p:txBody>
      </p:sp>
    </p:spTree>
    <p:extLst>
      <p:ext uri="{BB962C8B-B14F-4D97-AF65-F5344CB8AC3E}">
        <p14:creationId xmlns:p14="http://schemas.microsoft.com/office/powerpoint/2010/main" val="1209781572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" y="0"/>
            <a:ext cx="12190271" cy="6858000"/>
          </a:xfrm>
          <a:prstGeom prst="rect">
            <a:avLst/>
          </a:prstGeom>
        </p:spPr>
      </p:pic>
      <p:sp>
        <p:nvSpPr>
          <p:cNvPr id="23" name="Rectangle 22"/>
          <p:cNvSpPr/>
          <p:nvPr userDrawn="1"/>
        </p:nvSpPr>
        <p:spPr bwMode="auto">
          <a:xfrm>
            <a:off x="1" y="0"/>
            <a:ext cx="12190271" cy="6858000"/>
          </a:xfrm>
          <a:prstGeom prst="rect">
            <a:avLst/>
          </a:prstGeom>
          <a:solidFill>
            <a:srgbClr val="003C6C">
              <a:alpha val="40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graphicFrame>
        <p:nvGraphicFramePr>
          <p:cNvPr id="2" name="Object 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2" name="Object 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2"/>
          <p:cNvSpPr txBox="1">
            <a:spLocks/>
          </p:cNvSpPr>
          <p:nvPr/>
        </p:nvSpPr>
        <p:spPr bwMode="auto">
          <a:xfrm>
            <a:off x="9729944" y="6220394"/>
            <a:ext cx="2462058" cy="33061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marL="0" marR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3200" kern="1200" spc="0" baseline="0">
                <a:gradFill>
                  <a:gsLst>
                    <a:gs pos="4040">
                      <a:srgbClr val="525252"/>
                    </a:gs>
                    <a:gs pos="17000">
                      <a:srgbClr val="525252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84200" marR="0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8001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0287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73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US" sz="1765" b="0">
                <a:solidFill>
                  <a:schemeClr val="tx1"/>
                </a:solidFill>
                <a:latin typeface="+mn-lt"/>
              </a:rPr>
              <a:t>Microsoft Servic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85563" y="1796444"/>
            <a:ext cx="5610434" cy="1524005"/>
          </a:xfrm>
          <a:noFill/>
        </p:spPr>
        <p:txBody>
          <a:bodyPr lIns="0" tIns="91440" rIns="146304" bIns="91440" anchor="ctr" anchorCtr="0"/>
          <a:lstStyle>
            <a:lvl1pPr>
              <a:defRPr sz="4800" spc="-98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85565" y="3748756"/>
            <a:ext cx="5610433" cy="669314"/>
          </a:xfrm>
          <a:noFill/>
        </p:spPr>
        <p:txBody>
          <a:bodyPr lIns="0" tIns="109728" rIns="146304" bIns="109728" anchor="t">
            <a:no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24" name="Picture 2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933395" y="59039"/>
            <a:ext cx="2054375" cy="7557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25439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-sub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281294-6354-4DDC-8233-3BACF7CAF810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000" b="0" i="0" baseline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bold" panose="020B0702040204020203" pitchFamily="34" charset="0"/>
              <a:ea typeface="+mn-ea"/>
              <a:cs typeface="Segoe UI" pitchFamily="34" charset="0"/>
              <a:sym typeface="Segoe UI Semibold" panose="020B0702040204020203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48212" y="1409910"/>
            <a:ext cx="11292463" cy="4903310"/>
          </a:xfrm>
        </p:spPr>
        <p:txBody>
          <a:bodyPr wrap="square">
            <a:noAutofit/>
          </a:bodyPr>
          <a:lstStyle>
            <a:lvl1pPr>
              <a:defRPr sz="1961">
                <a:solidFill>
                  <a:schemeClr val="bg1"/>
                </a:solidFill>
              </a:defRPr>
            </a:lvl1pPr>
            <a:lvl2pPr>
              <a:defRPr sz="1372">
                <a:solidFill>
                  <a:schemeClr val="bg1"/>
                </a:solidFill>
              </a:defRPr>
            </a:lvl2pPr>
            <a:lvl3pPr>
              <a:defRPr sz="1176">
                <a:solidFill>
                  <a:schemeClr val="bg1"/>
                </a:solidFill>
              </a:defRPr>
            </a:lvl3pPr>
            <a:lvl4pPr>
              <a:defRPr sz="1078">
                <a:solidFill>
                  <a:schemeClr val="bg1"/>
                </a:solidFill>
              </a:defRPr>
            </a:lvl4pPr>
            <a:lvl5pPr>
              <a:defRPr sz="1078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48212" y="957259"/>
            <a:ext cx="11292463" cy="461665"/>
          </a:xfrm>
        </p:spPr>
        <p:txBody>
          <a:bodyPr/>
          <a:lstStyle>
            <a:lvl1pPr marL="0" indent="0">
              <a:buNone/>
              <a:defRPr sz="1961">
                <a:solidFill>
                  <a:schemeClr val="bg1"/>
                </a:solidFill>
                <a:latin typeface="+mn-lt"/>
              </a:defRPr>
            </a:lvl1pPr>
            <a:lvl2pPr>
              <a:defRPr sz="1961">
                <a:latin typeface="+mn-lt"/>
              </a:defRPr>
            </a:lvl2pPr>
            <a:lvl3pPr>
              <a:defRPr sz="1765">
                <a:latin typeface="+mn-lt"/>
              </a:defRPr>
            </a:lvl3pPr>
            <a:lvl4pPr>
              <a:defRPr sz="1567">
                <a:latin typeface="+mn-lt"/>
              </a:defRPr>
            </a:lvl4pPr>
            <a:lvl5pPr>
              <a:defRPr sz="1567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Slide Number Placeholder 4">
            <a:extLst>
              <a:ext uri="{FF2B5EF4-FFF2-40B4-BE49-F238E27FC236}">
                <a16:creationId xmlns:a16="http://schemas.microsoft.com/office/drawing/2014/main" id="{6E81FED5-F9FE-4590-8BFB-D76AD954452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879420" y="6585883"/>
            <a:ext cx="139862" cy="1357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>
              <a:defRPr lang="en-US" sz="784" smtClean="0">
                <a:solidFill>
                  <a:schemeClr val="bg1"/>
                </a:solidFill>
              </a:defRPr>
            </a:lvl1pPr>
          </a:lstStyle>
          <a:p>
            <a:pPr algn="r"/>
            <a:fld id="{4F6BF59E-C7AB-4D2C-B602-9844A5FEE556}" type="slidenum">
              <a:rPr lang="en-IN" smtClean="0"/>
              <a:pPr algn="r"/>
              <a:t>‹#›</a:t>
            </a:fld>
            <a:endParaRPr lang="en-IN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80F04E0C-7648-4C09-AC8C-0529390187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EAD0C87-42C9-4944-B741-837031D9220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IN"/>
              <a:t>Microsoft Confidential</a:t>
            </a:r>
            <a:endParaRPr lang="en-IN" sz="784"/>
          </a:p>
        </p:txBody>
      </p:sp>
    </p:spTree>
    <p:extLst>
      <p:ext uri="{BB962C8B-B14F-4D97-AF65-F5344CB8AC3E}">
        <p14:creationId xmlns:p14="http://schemas.microsoft.com/office/powerpoint/2010/main" val="2040703705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-sub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FB1782A-F8A5-4450-A93E-AF2373FA817D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000" b="0" i="0" baseline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bold" panose="020B0702040204020203" pitchFamily="34" charset="0"/>
              <a:ea typeface="+mn-ea"/>
              <a:cs typeface="Segoe UI" pitchFamily="34" charset="0"/>
              <a:sym typeface="Segoe UI Semibold" panose="020B0702040204020203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48212" y="1409910"/>
            <a:ext cx="11292463" cy="4903310"/>
          </a:xfrm>
        </p:spPr>
        <p:txBody>
          <a:bodyPr wrap="square">
            <a:noAutofit/>
          </a:bodyPr>
          <a:lstStyle>
            <a:lvl1pPr>
              <a:defRPr sz="1961">
                <a:solidFill>
                  <a:schemeClr val="bg1"/>
                </a:solidFill>
              </a:defRPr>
            </a:lvl1pPr>
            <a:lvl2pPr>
              <a:defRPr sz="1372">
                <a:solidFill>
                  <a:schemeClr val="bg1"/>
                </a:solidFill>
              </a:defRPr>
            </a:lvl2pPr>
            <a:lvl3pPr>
              <a:defRPr sz="1176">
                <a:solidFill>
                  <a:schemeClr val="bg1"/>
                </a:solidFill>
              </a:defRPr>
            </a:lvl3pPr>
            <a:lvl4pPr>
              <a:defRPr sz="1078">
                <a:solidFill>
                  <a:schemeClr val="bg1"/>
                </a:solidFill>
              </a:defRPr>
            </a:lvl4pPr>
            <a:lvl5pPr>
              <a:defRPr sz="1078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Slide Number Placeholder 4">
            <a:extLst>
              <a:ext uri="{FF2B5EF4-FFF2-40B4-BE49-F238E27FC236}">
                <a16:creationId xmlns:a16="http://schemas.microsoft.com/office/drawing/2014/main" id="{6E81FED5-F9FE-4590-8BFB-D76AD954452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879420" y="6585883"/>
            <a:ext cx="139862" cy="1357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>
              <a:defRPr lang="en-US" sz="784" smtClean="0">
                <a:solidFill>
                  <a:schemeClr val="bg1"/>
                </a:solidFill>
              </a:defRPr>
            </a:lvl1pPr>
          </a:lstStyle>
          <a:p>
            <a:pPr algn="r"/>
            <a:fld id="{4F6BF59E-C7AB-4D2C-B602-9844A5FEE556}" type="slidenum">
              <a:rPr lang="en-IN" smtClean="0"/>
              <a:pPr algn="r"/>
              <a:t>‹#›</a:t>
            </a:fld>
            <a:endParaRPr lang="en-IN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5D6004B-8FB1-4280-B672-7F2F4B7D8B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CF2488BA-D203-495A-9300-9BF808D23C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Microsoft Confidential</a:t>
            </a:r>
            <a:endParaRPr lang="en-IN" sz="784"/>
          </a:p>
        </p:txBody>
      </p:sp>
    </p:spTree>
    <p:extLst>
      <p:ext uri="{BB962C8B-B14F-4D97-AF65-F5344CB8AC3E}">
        <p14:creationId xmlns:p14="http://schemas.microsoft.com/office/powerpoint/2010/main" val="1851372192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-sub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02969DA-8767-496C-9F53-85609611FA50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000" b="0" i="0" baseline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bold" panose="020B0702040204020203" pitchFamily="34" charset="0"/>
              <a:ea typeface="+mn-ea"/>
              <a:cs typeface="Segoe UI" pitchFamily="34" charset="0"/>
              <a:sym typeface="Segoe UI Semibold" panose="020B0702040204020203" pitchFamily="34" charset="0"/>
            </a:endParaRP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48213" y="1337046"/>
            <a:ext cx="11290217" cy="461665"/>
          </a:xfrm>
        </p:spPr>
        <p:txBody>
          <a:bodyPr/>
          <a:lstStyle>
            <a:lvl1pPr marL="0" indent="0">
              <a:buNone/>
              <a:defRPr sz="1961">
                <a:solidFill>
                  <a:schemeClr val="bg1"/>
                </a:solidFill>
                <a:latin typeface="+mn-lt"/>
              </a:defRPr>
            </a:lvl1pPr>
            <a:lvl2pPr>
              <a:defRPr sz="1961">
                <a:latin typeface="+mn-lt"/>
              </a:defRPr>
            </a:lvl2pPr>
            <a:lvl3pPr>
              <a:defRPr sz="1765">
                <a:latin typeface="+mn-lt"/>
              </a:defRPr>
            </a:lvl3pPr>
            <a:lvl4pPr>
              <a:defRPr sz="1567">
                <a:latin typeface="+mn-lt"/>
              </a:defRPr>
            </a:lvl4pPr>
            <a:lvl5pPr>
              <a:defRPr sz="1567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516B1BD4-7906-424A-8328-DD99C482FC5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879420" y="6585883"/>
            <a:ext cx="139862" cy="1357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>
              <a:defRPr lang="en-US" sz="784" smtClean="0">
                <a:solidFill>
                  <a:schemeClr val="bg1"/>
                </a:solidFill>
              </a:defRPr>
            </a:lvl1pPr>
          </a:lstStyle>
          <a:p>
            <a:pPr algn="r"/>
            <a:fld id="{4F6BF59E-C7AB-4D2C-B602-9844A5FEE556}" type="slidenum">
              <a:rPr lang="en-IN" smtClean="0"/>
              <a:pPr algn="r"/>
              <a:t>‹#›</a:t>
            </a:fld>
            <a:endParaRPr lang="en-IN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B94A702C-7783-4ACE-8AA2-24D0DA1897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2469E87-1B31-405F-9118-40FDF0690E4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IN"/>
              <a:t>Microsoft Confidential</a:t>
            </a:r>
            <a:endParaRPr lang="en-IN" sz="784"/>
          </a:p>
        </p:txBody>
      </p:sp>
    </p:spTree>
    <p:extLst>
      <p:ext uri="{BB962C8B-B14F-4D97-AF65-F5344CB8AC3E}">
        <p14:creationId xmlns:p14="http://schemas.microsoft.com/office/powerpoint/2010/main" val="4214971813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A2A96F7-BB85-485B-A986-06177B474EBD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000" b="0" i="0" baseline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bold" panose="020B0702040204020203" pitchFamily="34" charset="0"/>
              <a:ea typeface="+mn-ea"/>
              <a:cs typeface="Segoe UI" pitchFamily="34" charset="0"/>
              <a:sym typeface="Segoe UI Semibold" panose="020B0702040204020203" pitchFamily="34" charset="0"/>
            </a:endParaRPr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DA0E7219-0027-4CE1-9813-057B44A81E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879420" y="6585883"/>
            <a:ext cx="139862" cy="1357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>
              <a:defRPr lang="en-US" sz="784" smtClean="0">
                <a:solidFill>
                  <a:schemeClr val="bg1"/>
                </a:solidFill>
              </a:defRPr>
            </a:lvl1pPr>
          </a:lstStyle>
          <a:p>
            <a:pPr algn="r"/>
            <a:fld id="{4F6BF59E-C7AB-4D2C-B602-9844A5FEE556}" type="slidenum">
              <a:rPr lang="en-IN" smtClean="0"/>
              <a:pPr algn="r"/>
              <a:t>‹#›</a:t>
            </a:fld>
            <a:endParaRPr lang="en-IN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3FEB88B-EB0E-4AA0-A782-401EBA4E47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DD98730-80DE-412F-A547-8951EC94BDA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IN"/>
              <a:t>Microsoft Confidential</a:t>
            </a:r>
            <a:endParaRPr lang="en-IN" sz="784"/>
          </a:p>
        </p:txBody>
      </p:sp>
    </p:spTree>
    <p:extLst>
      <p:ext uri="{BB962C8B-B14F-4D97-AF65-F5344CB8AC3E}">
        <p14:creationId xmlns:p14="http://schemas.microsoft.com/office/powerpoint/2010/main" val="3195011992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 Placeholder 4">
            <a:extLst>
              <a:ext uri="{FF2B5EF4-FFF2-40B4-BE49-F238E27FC236}">
                <a16:creationId xmlns:a16="http://schemas.microsoft.com/office/drawing/2014/main" id="{78543062-6A81-4267-B0C6-E89BBFDE44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879420" y="6585883"/>
            <a:ext cx="139862" cy="1357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>
              <a:defRPr lang="en-US" sz="800" smtClean="0">
                <a:solidFill>
                  <a:schemeClr val="bg1"/>
                </a:solidFill>
              </a:defRPr>
            </a:lvl1pPr>
          </a:lstStyle>
          <a:p>
            <a:pPr algn="r"/>
            <a:fld id="{4F6BF59E-C7AB-4D2C-B602-9844A5FEE556}" type="slidenum">
              <a:rPr lang="en-IN" smtClean="0"/>
              <a:pPr algn="r"/>
              <a:t>‹#›</a:t>
            </a:fld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E918DE1-E5BF-4EDB-8943-F6E00DAE2B3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IN"/>
              <a:t>Microsoft Confidential</a:t>
            </a:r>
            <a:endParaRPr lang="en-IN" sz="784"/>
          </a:p>
        </p:txBody>
      </p:sp>
    </p:spTree>
    <p:extLst>
      <p:ext uri="{BB962C8B-B14F-4D97-AF65-F5344CB8AC3E}">
        <p14:creationId xmlns:p14="http://schemas.microsoft.com/office/powerpoint/2010/main" val="487069520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-sub half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3EF9E13-E24B-4053-8018-FF1B08AE4CC7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000" b="0" i="0" baseline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bold" panose="020B0702040204020203" pitchFamily="34" charset="0"/>
              <a:ea typeface="+mn-ea"/>
              <a:cs typeface="Segoe UI" pitchFamily="34" charset="0"/>
              <a:sym typeface="Segoe UI Semibold" panose="020B0702040204020203" pitchFamily="34" charset="0"/>
            </a:endParaRP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6553409" y="0"/>
            <a:ext cx="5638591" cy="6858000"/>
          </a:xfrm>
        </p:spPr>
        <p:txBody>
          <a:bodyPr>
            <a:noAutofit/>
          </a:bodyPr>
          <a:lstStyle>
            <a:lvl1pPr marL="0" indent="0" algn="ctr">
              <a:buNone/>
              <a:defRPr sz="2353"/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8213" y="449896"/>
            <a:ext cx="11292464" cy="543097"/>
          </a:xfrm>
        </p:spPr>
        <p:txBody>
          <a:bodyPr/>
          <a:lstStyle>
            <a:lvl1pPr>
              <a:defRPr sz="3529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48213" y="957258"/>
            <a:ext cx="11292464" cy="461665"/>
          </a:xfrm>
        </p:spPr>
        <p:txBody>
          <a:bodyPr/>
          <a:lstStyle>
            <a:lvl1pPr marL="0" indent="0">
              <a:buNone/>
              <a:defRPr sz="1961">
                <a:latin typeface="+mn-lt"/>
              </a:defRPr>
            </a:lvl1pPr>
            <a:lvl2pPr>
              <a:defRPr sz="1961">
                <a:latin typeface="+mn-lt"/>
              </a:defRPr>
            </a:lvl2pPr>
            <a:lvl3pPr>
              <a:defRPr sz="1765">
                <a:latin typeface="+mn-lt"/>
              </a:defRPr>
            </a:lvl3pPr>
            <a:lvl4pPr>
              <a:defRPr sz="1567">
                <a:latin typeface="+mn-lt"/>
              </a:defRPr>
            </a:lvl4pPr>
            <a:lvl5pPr>
              <a:defRPr sz="1567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3F2B7AA5-1F38-48D8-827D-806F8F81FC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879420" y="6585883"/>
            <a:ext cx="139862" cy="1357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>
              <a:defRPr lang="en-US" sz="784" smtClean="0">
                <a:solidFill>
                  <a:schemeClr val="bg1"/>
                </a:solidFill>
              </a:defRPr>
            </a:lvl1pPr>
          </a:lstStyle>
          <a:p>
            <a:pPr algn="r"/>
            <a:fld id="{4F6BF59E-C7AB-4D2C-B602-9844A5FEE556}" type="slidenum">
              <a:rPr lang="en-IN" smtClean="0"/>
              <a:pPr algn="r"/>
              <a:t>‹#›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755293C-A7CD-45EF-991C-E5F956D4093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IN"/>
              <a:t>Microsoft Confidential</a:t>
            </a:r>
            <a:endParaRPr lang="en-IN" sz="784"/>
          </a:p>
        </p:txBody>
      </p:sp>
    </p:spTree>
    <p:extLst>
      <p:ext uri="{BB962C8B-B14F-4D97-AF65-F5344CB8AC3E}">
        <p14:creationId xmlns:p14="http://schemas.microsoft.com/office/powerpoint/2010/main" val="3933469216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F9E940D-12A8-495F-9BA0-72F1AE91BEE9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000" b="0" i="0" baseline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bold" panose="020B0702040204020203" pitchFamily="34" charset="0"/>
              <a:ea typeface="+mn-ea"/>
              <a:cs typeface="Segoe UI" pitchFamily="34" charset="0"/>
              <a:sym typeface="Segoe UI Semibold" panose="020B0702040204020203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48212" y="1178277"/>
            <a:ext cx="11292463" cy="5134943"/>
          </a:xfrm>
        </p:spPr>
        <p:txBody>
          <a:bodyPr wrap="square" lIns="146304" rIns="146304">
            <a:noAutofit/>
          </a:bodyPr>
          <a:lstStyle>
            <a:lvl1pPr marL="278511" indent="-278511">
              <a:lnSpc>
                <a:spcPct val="100000"/>
              </a:lnSpc>
              <a:spcBef>
                <a:spcPts val="1175"/>
              </a:spcBef>
              <a:buClr>
                <a:schemeClr val="bg2"/>
              </a:buClr>
              <a:buFont typeface="+mj-lt"/>
              <a:buAutoNum type="arabicPeriod"/>
              <a:defRPr sz="1765">
                <a:solidFill>
                  <a:schemeClr val="bg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48212" y="449896"/>
            <a:ext cx="11292463" cy="543097"/>
          </a:xfrm>
        </p:spPr>
        <p:txBody>
          <a:bodyPr lIns="0" rIns="0"/>
          <a:lstStyle>
            <a:lvl1pPr>
              <a:defRPr sz="352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1CAA613E-EFB0-4FCD-A16C-5654549C1F0B}"/>
              </a:ext>
            </a:extLst>
          </p:cNvPr>
          <p:cNvSpPr/>
          <p:nvPr userDrawn="1"/>
        </p:nvSpPr>
        <p:spPr bwMode="auto">
          <a:xfrm>
            <a:off x="448212" y="1178277"/>
            <a:ext cx="11292463" cy="5134943"/>
          </a:xfrm>
          <a:custGeom>
            <a:avLst/>
            <a:gdLst>
              <a:gd name="connsiteX0" fmla="*/ 0 w 11518900"/>
              <a:gd name="connsiteY0" fmla="*/ 0 h 5237166"/>
              <a:gd name="connsiteX1" fmla="*/ 11518900 w 11518900"/>
              <a:gd name="connsiteY1" fmla="*/ 0 h 5237166"/>
              <a:gd name="connsiteX2" fmla="*/ 11518900 w 11518900"/>
              <a:gd name="connsiteY2" fmla="*/ 5237166 h 5237166"/>
              <a:gd name="connsiteX3" fmla="*/ 0 w 11518900"/>
              <a:gd name="connsiteY3" fmla="*/ 5237166 h 5237166"/>
              <a:gd name="connsiteX4" fmla="*/ 0 w 11518900"/>
              <a:gd name="connsiteY4" fmla="*/ 5217916 h 5237166"/>
              <a:gd name="connsiteX5" fmla="*/ 1833613 w 11518900"/>
              <a:gd name="connsiteY5" fmla="*/ 5217916 h 5237166"/>
              <a:gd name="connsiteX6" fmla="*/ 1833613 w 11518900"/>
              <a:gd name="connsiteY6" fmla="*/ 4591057 h 5237166"/>
              <a:gd name="connsiteX7" fmla="*/ 0 w 11518900"/>
              <a:gd name="connsiteY7" fmla="*/ 4591057 h 5237166"/>
              <a:gd name="connsiteX0" fmla="*/ 1833613 w 11518900"/>
              <a:gd name="connsiteY0" fmla="*/ 4591057 h 5237166"/>
              <a:gd name="connsiteX1" fmla="*/ 0 w 11518900"/>
              <a:gd name="connsiteY1" fmla="*/ 4591057 h 5237166"/>
              <a:gd name="connsiteX2" fmla="*/ 0 w 11518900"/>
              <a:gd name="connsiteY2" fmla="*/ 0 h 5237166"/>
              <a:gd name="connsiteX3" fmla="*/ 11518900 w 11518900"/>
              <a:gd name="connsiteY3" fmla="*/ 0 h 5237166"/>
              <a:gd name="connsiteX4" fmla="*/ 11518900 w 11518900"/>
              <a:gd name="connsiteY4" fmla="*/ 5237166 h 5237166"/>
              <a:gd name="connsiteX5" fmla="*/ 0 w 11518900"/>
              <a:gd name="connsiteY5" fmla="*/ 5237166 h 5237166"/>
              <a:gd name="connsiteX6" fmla="*/ 0 w 11518900"/>
              <a:gd name="connsiteY6" fmla="*/ 5217916 h 5237166"/>
              <a:gd name="connsiteX7" fmla="*/ 1833613 w 11518900"/>
              <a:gd name="connsiteY7" fmla="*/ 5217916 h 5237166"/>
              <a:gd name="connsiteX8" fmla="*/ 1925053 w 11518900"/>
              <a:gd name="connsiteY8" fmla="*/ 4682497 h 5237166"/>
              <a:gd name="connsiteX0" fmla="*/ 1833613 w 11518900"/>
              <a:gd name="connsiteY0" fmla="*/ 4591057 h 5237166"/>
              <a:gd name="connsiteX1" fmla="*/ 0 w 11518900"/>
              <a:gd name="connsiteY1" fmla="*/ 4591057 h 5237166"/>
              <a:gd name="connsiteX2" fmla="*/ 0 w 11518900"/>
              <a:gd name="connsiteY2" fmla="*/ 0 h 5237166"/>
              <a:gd name="connsiteX3" fmla="*/ 11518900 w 11518900"/>
              <a:gd name="connsiteY3" fmla="*/ 0 h 5237166"/>
              <a:gd name="connsiteX4" fmla="*/ 11518900 w 11518900"/>
              <a:gd name="connsiteY4" fmla="*/ 5237166 h 5237166"/>
              <a:gd name="connsiteX5" fmla="*/ 0 w 11518900"/>
              <a:gd name="connsiteY5" fmla="*/ 5237166 h 5237166"/>
              <a:gd name="connsiteX6" fmla="*/ 0 w 11518900"/>
              <a:gd name="connsiteY6" fmla="*/ 5217916 h 5237166"/>
              <a:gd name="connsiteX7" fmla="*/ 1833613 w 11518900"/>
              <a:gd name="connsiteY7" fmla="*/ 5217916 h 5237166"/>
              <a:gd name="connsiteX0" fmla="*/ 1833613 w 11518900"/>
              <a:gd name="connsiteY0" fmla="*/ 4591057 h 5237166"/>
              <a:gd name="connsiteX1" fmla="*/ 0 w 11518900"/>
              <a:gd name="connsiteY1" fmla="*/ 4591057 h 5237166"/>
              <a:gd name="connsiteX2" fmla="*/ 0 w 11518900"/>
              <a:gd name="connsiteY2" fmla="*/ 0 h 5237166"/>
              <a:gd name="connsiteX3" fmla="*/ 11518900 w 11518900"/>
              <a:gd name="connsiteY3" fmla="*/ 0 h 5237166"/>
              <a:gd name="connsiteX4" fmla="*/ 11518900 w 11518900"/>
              <a:gd name="connsiteY4" fmla="*/ 5237166 h 5237166"/>
              <a:gd name="connsiteX5" fmla="*/ 0 w 11518900"/>
              <a:gd name="connsiteY5" fmla="*/ 5237166 h 5237166"/>
              <a:gd name="connsiteX6" fmla="*/ 0 w 11518900"/>
              <a:gd name="connsiteY6" fmla="*/ 5217916 h 5237166"/>
              <a:gd name="connsiteX0" fmla="*/ 0 w 11518900"/>
              <a:gd name="connsiteY0" fmla="*/ 4591057 h 5237166"/>
              <a:gd name="connsiteX1" fmla="*/ 0 w 11518900"/>
              <a:gd name="connsiteY1" fmla="*/ 0 h 5237166"/>
              <a:gd name="connsiteX2" fmla="*/ 11518900 w 11518900"/>
              <a:gd name="connsiteY2" fmla="*/ 0 h 5237166"/>
              <a:gd name="connsiteX3" fmla="*/ 11518900 w 11518900"/>
              <a:gd name="connsiteY3" fmla="*/ 5237166 h 5237166"/>
              <a:gd name="connsiteX4" fmla="*/ 0 w 11518900"/>
              <a:gd name="connsiteY4" fmla="*/ 5237166 h 5237166"/>
              <a:gd name="connsiteX5" fmla="*/ 0 w 11518900"/>
              <a:gd name="connsiteY5" fmla="*/ 5217916 h 5237166"/>
              <a:gd name="connsiteX0" fmla="*/ 0 w 11518900"/>
              <a:gd name="connsiteY0" fmla="*/ 4591057 h 5237166"/>
              <a:gd name="connsiteX1" fmla="*/ 0 w 11518900"/>
              <a:gd name="connsiteY1" fmla="*/ 0 h 5237166"/>
              <a:gd name="connsiteX2" fmla="*/ 11518900 w 11518900"/>
              <a:gd name="connsiteY2" fmla="*/ 0 h 5237166"/>
              <a:gd name="connsiteX3" fmla="*/ 11518900 w 11518900"/>
              <a:gd name="connsiteY3" fmla="*/ 5237166 h 5237166"/>
              <a:gd name="connsiteX4" fmla="*/ 0 w 11518900"/>
              <a:gd name="connsiteY4" fmla="*/ 5237166 h 52371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518900" h="5237166">
                <a:moveTo>
                  <a:pt x="0" y="4591057"/>
                </a:moveTo>
                <a:lnTo>
                  <a:pt x="0" y="0"/>
                </a:lnTo>
                <a:lnTo>
                  <a:pt x="11518900" y="0"/>
                </a:lnTo>
                <a:lnTo>
                  <a:pt x="11518900" y="5237166"/>
                </a:lnTo>
                <a:lnTo>
                  <a:pt x="0" y="5237166"/>
                </a:lnTo>
              </a:path>
            </a:pathLst>
          </a:custGeom>
          <a:noFill/>
          <a:ln w="15875">
            <a:solidFill>
              <a:schemeClr val="accent1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96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6" name="Slide Number Placeholder 4">
            <a:extLst>
              <a:ext uri="{FF2B5EF4-FFF2-40B4-BE49-F238E27FC236}">
                <a16:creationId xmlns:a16="http://schemas.microsoft.com/office/drawing/2014/main" id="{64DCB890-7EB1-448E-8438-883CF1FB03A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879420" y="6585883"/>
            <a:ext cx="139862" cy="1357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>
              <a:defRPr lang="en-US" sz="784" smtClean="0">
                <a:solidFill>
                  <a:schemeClr val="bg1"/>
                </a:solidFill>
              </a:defRPr>
            </a:lvl1pPr>
          </a:lstStyle>
          <a:p>
            <a:pPr algn="r"/>
            <a:fld id="{4F6BF59E-C7AB-4D2C-B602-9844A5FEE556}" type="slidenum">
              <a:rPr lang="en-IN" smtClean="0"/>
              <a:pPr algn="r"/>
              <a:t>‹#›</a:t>
            </a:fld>
            <a:endParaRPr lang="en-IN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7174BAAB-B67D-484E-9976-8EF5EB3E43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Microsoft Confidential</a:t>
            </a:r>
            <a:endParaRPr lang="en-IN" sz="784"/>
          </a:p>
        </p:txBody>
      </p:sp>
    </p:spTree>
    <p:extLst>
      <p:ext uri="{BB962C8B-B14F-4D97-AF65-F5344CB8AC3E}">
        <p14:creationId xmlns:p14="http://schemas.microsoft.com/office/powerpoint/2010/main" val="4288009921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-sub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281294-6354-4DDC-8233-3BACF7CAF810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000" b="0" i="0" baseline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bold" panose="020B0702040204020203" pitchFamily="34" charset="0"/>
              <a:ea typeface="+mn-ea"/>
              <a:cs typeface="Segoe UI" pitchFamily="34" charset="0"/>
              <a:sym typeface="Segoe UI Semibold" panose="020B0702040204020203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48212" y="1409910"/>
            <a:ext cx="11292463" cy="4903310"/>
          </a:xfrm>
        </p:spPr>
        <p:txBody>
          <a:bodyPr wrap="square">
            <a:noAutofit/>
          </a:bodyPr>
          <a:lstStyle>
            <a:lvl1pPr>
              <a:defRPr sz="1961">
                <a:solidFill>
                  <a:schemeClr val="bg1"/>
                </a:solidFill>
              </a:defRPr>
            </a:lvl1pPr>
            <a:lvl2pPr>
              <a:defRPr sz="1372">
                <a:solidFill>
                  <a:schemeClr val="bg1"/>
                </a:solidFill>
              </a:defRPr>
            </a:lvl2pPr>
            <a:lvl3pPr>
              <a:defRPr sz="1176">
                <a:solidFill>
                  <a:schemeClr val="bg1"/>
                </a:solidFill>
              </a:defRPr>
            </a:lvl3pPr>
            <a:lvl4pPr>
              <a:defRPr sz="1078">
                <a:solidFill>
                  <a:schemeClr val="bg1"/>
                </a:solidFill>
              </a:defRPr>
            </a:lvl4pPr>
            <a:lvl5pPr>
              <a:defRPr sz="1078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48212" y="449896"/>
            <a:ext cx="11292420" cy="543097"/>
          </a:xfrm>
        </p:spPr>
        <p:txBody>
          <a:bodyPr/>
          <a:lstStyle>
            <a:lvl1pPr>
              <a:defRPr sz="352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48212" y="957259"/>
            <a:ext cx="11292463" cy="461665"/>
          </a:xfrm>
        </p:spPr>
        <p:txBody>
          <a:bodyPr/>
          <a:lstStyle>
            <a:lvl1pPr marL="0" indent="0">
              <a:buNone/>
              <a:defRPr sz="1961">
                <a:solidFill>
                  <a:schemeClr val="bg1"/>
                </a:solidFill>
                <a:latin typeface="+mn-lt"/>
              </a:defRPr>
            </a:lvl1pPr>
            <a:lvl2pPr>
              <a:defRPr sz="1961">
                <a:latin typeface="+mn-lt"/>
              </a:defRPr>
            </a:lvl2pPr>
            <a:lvl3pPr>
              <a:defRPr sz="1765">
                <a:latin typeface="+mn-lt"/>
              </a:defRPr>
            </a:lvl3pPr>
            <a:lvl4pPr>
              <a:defRPr sz="1567">
                <a:latin typeface="+mn-lt"/>
              </a:defRPr>
            </a:lvl4pPr>
            <a:lvl5pPr>
              <a:defRPr sz="1567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2271445A-CC66-47D5-9522-BC72B5C193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879420" y="6585883"/>
            <a:ext cx="139862" cy="1357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>
              <a:defRPr lang="en-US" sz="784" smtClean="0">
                <a:solidFill>
                  <a:schemeClr val="bg1"/>
                </a:solidFill>
              </a:defRPr>
            </a:lvl1pPr>
          </a:lstStyle>
          <a:p>
            <a:pPr algn="r"/>
            <a:fld id="{4F6BF59E-C7AB-4D2C-B602-9844A5FEE556}" type="slidenum">
              <a:rPr lang="en-IN" smtClean="0"/>
              <a:pPr algn="r"/>
              <a:t>‹#›</a:t>
            </a:fld>
            <a:endParaRPr lang="en-IN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EE22134-C24A-40FD-B915-AA20B5C6A3F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IN"/>
              <a:t>Microsoft Confidential</a:t>
            </a:r>
            <a:endParaRPr lang="en-IN" sz="784"/>
          </a:p>
        </p:txBody>
      </p:sp>
    </p:spTree>
    <p:extLst>
      <p:ext uri="{BB962C8B-B14F-4D97-AF65-F5344CB8AC3E}">
        <p14:creationId xmlns:p14="http://schemas.microsoft.com/office/powerpoint/2010/main" val="2505511132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-sub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FB1782A-F8A5-4450-A93E-AF2373FA817D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000" b="0" i="0" baseline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bold" panose="020B0702040204020203" pitchFamily="34" charset="0"/>
              <a:ea typeface="+mn-ea"/>
              <a:cs typeface="Segoe UI" pitchFamily="34" charset="0"/>
              <a:sym typeface="Segoe UI Semibold" panose="020B0702040204020203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48212" y="1409910"/>
            <a:ext cx="11292463" cy="4903310"/>
          </a:xfrm>
        </p:spPr>
        <p:txBody>
          <a:bodyPr wrap="square">
            <a:noAutofit/>
          </a:bodyPr>
          <a:lstStyle>
            <a:lvl1pPr>
              <a:defRPr sz="1961">
                <a:solidFill>
                  <a:schemeClr val="bg1"/>
                </a:solidFill>
              </a:defRPr>
            </a:lvl1pPr>
            <a:lvl2pPr>
              <a:defRPr sz="1372">
                <a:solidFill>
                  <a:schemeClr val="bg1"/>
                </a:solidFill>
              </a:defRPr>
            </a:lvl2pPr>
            <a:lvl3pPr>
              <a:defRPr sz="1176">
                <a:solidFill>
                  <a:schemeClr val="bg1"/>
                </a:solidFill>
              </a:defRPr>
            </a:lvl3pPr>
            <a:lvl4pPr>
              <a:defRPr sz="1078">
                <a:solidFill>
                  <a:schemeClr val="bg1"/>
                </a:solidFill>
              </a:defRPr>
            </a:lvl4pPr>
            <a:lvl5pPr>
              <a:defRPr sz="1078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4">
            <a:extLst>
              <a:ext uri="{FF2B5EF4-FFF2-40B4-BE49-F238E27FC236}">
                <a16:creationId xmlns:a16="http://schemas.microsoft.com/office/drawing/2014/main" id="{FDFAF4EE-801A-4554-BAD9-6E27F080ACF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879420" y="6585883"/>
            <a:ext cx="139862" cy="1357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>
              <a:defRPr lang="en-US" sz="784" smtClean="0">
                <a:solidFill>
                  <a:schemeClr val="bg1"/>
                </a:solidFill>
              </a:defRPr>
            </a:lvl1pPr>
          </a:lstStyle>
          <a:p>
            <a:pPr algn="r"/>
            <a:fld id="{4F6BF59E-C7AB-4D2C-B602-9844A5FEE556}" type="slidenum">
              <a:rPr lang="en-IN" smtClean="0"/>
              <a:pPr algn="r"/>
              <a:t>‹#›</a:t>
            </a:fld>
            <a:endParaRPr lang="en-IN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99F85787-070B-4D50-8039-009853D346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E819C4BD-E34A-4AF6-A462-204AF06A04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Microsoft Confidential</a:t>
            </a:r>
            <a:endParaRPr lang="en-IN" sz="784"/>
          </a:p>
        </p:txBody>
      </p:sp>
    </p:spTree>
    <p:extLst>
      <p:ext uri="{BB962C8B-B14F-4D97-AF65-F5344CB8AC3E}">
        <p14:creationId xmlns:p14="http://schemas.microsoft.com/office/powerpoint/2010/main" val="3165322092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-sub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02969DA-8767-496C-9F53-85609611FA50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000" b="0" i="0" baseline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bold" panose="020B0702040204020203" pitchFamily="34" charset="0"/>
              <a:ea typeface="+mn-ea"/>
              <a:cs typeface="Segoe UI" pitchFamily="34" charset="0"/>
              <a:sym typeface="Segoe UI Semibold" panose="020B0702040204020203" pitchFamily="34" charset="0"/>
            </a:endParaRP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48181" y="1051825"/>
            <a:ext cx="11290217" cy="271592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765">
                <a:solidFill>
                  <a:schemeClr val="bg1"/>
                </a:solidFill>
                <a:latin typeface="+mn-lt"/>
              </a:defRPr>
            </a:lvl1pPr>
            <a:lvl2pPr>
              <a:defRPr sz="1961">
                <a:latin typeface="+mn-lt"/>
              </a:defRPr>
            </a:lvl2pPr>
            <a:lvl3pPr>
              <a:defRPr sz="1765">
                <a:latin typeface="+mn-lt"/>
              </a:defRPr>
            </a:lvl3pPr>
            <a:lvl4pPr>
              <a:defRPr sz="1567">
                <a:latin typeface="+mn-lt"/>
              </a:defRPr>
            </a:lvl4pPr>
            <a:lvl5pPr>
              <a:defRPr sz="1567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Slide Number Placeholder 4">
            <a:extLst>
              <a:ext uri="{FF2B5EF4-FFF2-40B4-BE49-F238E27FC236}">
                <a16:creationId xmlns:a16="http://schemas.microsoft.com/office/drawing/2014/main" id="{619D66BF-55E6-4B72-8B51-B5654F09FD0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879420" y="6585883"/>
            <a:ext cx="139862" cy="1357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>
              <a:defRPr lang="en-US" sz="784" smtClean="0">
                <a:solidFill>
                  <a:schemeClr val="bg1"/>
                </a:solidFill>
              </a:defRPr>
            </a:lvl1pPr>
          </a:lstStyle>
          <a:p>
            <a:pPr algn="r"/>
            <a:fld id="{4F6BF59E-C7AB-4D2C-B602-9844A5FEE556}" type="slidenum">
              <a:rPr lang="en-IN" smtClean="0"/>
              <a:pPr algn="r"/>
              <a:t>‹#›</a:t>
            </a:fld>
            <a:endParaRPr lang="en-IN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2BAD4A8-A6E2-4993-8DF0-047EFC67E1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114495C1-135A-4CD8-9853-8C00843D658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IN"/>
              <a:t>Microsoft Confidential</a:t>
            </a:r>
            <a:endParaRPr lang="en-IN" sz="784"/>
          </a:p>
        </p:txBody>
      </p:sp>
    </p:spTree>
    <p:extLst>
      <p:ext uri="{BB962C8B-B14F-4D97-AF65-F5344CB8AC3E}">
        <p14:creationId xmlns:p14="http://schemas.microsoft.com/office/powerpoint/2010/main" val="3811672214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1DA79584-8255-4780-97C0-D3473B2C3FD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57B9AF75-34FB-49D4-92B0-100ABEB117E4}"/>
              </a:ext>
            </a:extLst>
          </p:cNvPr>
          <p:cNvSpPr/>
          <p:nvPr userDrawn="1"/>
        </p:nvSpPr>
        <p:spPr bwMode="auto">
          <a:xfrm>
            <a:off x="1" y="0"/>
            <a:ext cx="12436475" cy="6994525"/>
          </a:xfrm>
          <a:prstGeom prst="rect">
            <a:avLst/>
          </a:prstGeom>
          <a:gradFill flip="none" rotWithShape="1">
            <a:gsLst>
              <a:gs pos="0">
                <a:srgbClr val="000000">
                  <a:alpha val="0"/>
                </a:srgbClr>
              </a:gs>
              <a:gs pos="100000">
                <a:srgbClr val="000000">
                  <a:alpha val="79000"/>
                </a:srgbClr>
              </a:gs>
            </a:gsLst>
            <a:lin ang="10800000" scaled="1"/>
            <a:tileRect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6494" tIns="149196" rIns="186494" bIns="14919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50845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7198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graphicFrame>
        <p:nvGraphicFramePr>
          <p:cNvPr id="2" name="Object 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2" name="Object 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2"/>
          <p:cNvSpPr txBox="1">
            <a:spLocks/>
          </p:cNvSpPr>
          <p:nvPr/>
        </p:nvSpPr>
        <p:spPr bwMode="auto">
          <a:xfrm>
            <a:off x="9729944" y="6220394"/>
            <a:ext cx="2462058" cy="33061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marL="0" marR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3200" kern="1200" spc="0" baseline="0">
                <a:gradFill>
                  <a:gsLst>
                    <a:gs pos="4040">
                      <a:srgbClr val="525252"/>
                    </a:gs>
                    <a:gs pos="17000">
                      <a:srgbClr val="525252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84200" marR="0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8001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0287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73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US" sz="1765" b="0">
                <a:solidFill>
                  <a:schemeClr val="tx1"/>
                </a:solidFill>
                <a:latin typeface="+mn-lt"/>
              </a:rPr>
              <a:t>Microsoft Servic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85563" y="1796444"/>
            <a:ext cx="5610434" cy="1524005"/>
          </a:xfrm>
          <a:noFill/>
        </p:spPr>
        <p:txBody>
          <a:bodyPr lIns="0" tIns="91440" rIns="146304" bIns="91440" anchor="ctr" anchorCtr="0"/>
          <a:lstStyle>
            <a:lvl1pPr>
              <a:defRPr sz="4800" spc="-98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85565" y="3748756"/>
            <a:ext cx="5610433" cy="669314"/>
          </a:xfrm>
          <a:noFill/>
        </p:spPr>
        <p:txBody>
          <a:bodyPr lIns="0" tIns="109728" rIns="146304" bIns="109728" anchor="t">
            <a:no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24" name="Picture 2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933395" y="59039"/>
            <a:ext cx="2054375" cy="7557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99314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A2A96F7-BB85-485B-A986-06177B474EBD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000" b="0" i="0" baseline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bold" panose="020B0702040204020203" pitchFamily="34" charset="0"/>
              <a:ea typeface="+mn-ea"/>
              <a:cs typeface="Segoe UI" pitchFamily="34" charset="0"/>
              <a:sym typeface="Segoe UI Semibold" panose="020B0702040204020203" pitchFamily="34" charset="0"/>
            </a:endParaRPr>
          </a:p>
        </p:txBody>
      </p:sp>
      <p:sp>
        <p:nvSpPr>
          <p:cNvPr id="8" name="Slide Number Placeholder 4">
            <a:extLst>
              <a:ext uri="{FF2B5EF4-FFF2-40B4-BE49-F238E27FC236}">
                <a16:creationId xmlns:a16="http://schemas.microsoft.com/office/drawing/2014/main" id="{FAD64625-E6AB-4175-90A6-514092C581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879420" y="6585883"/>
            <a:ext cx="139862" cy="1357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>
              <a:defRPr lang="en-US" sz="784" smtClean="0">
                <a:solidFill>
                  <a:schemeClr val="bg1"/>
                </a:solidFill>
              </a:defRPr>
            </a:lvl1pPr>
          </a:lstStyle>
          <a:p>
            <a:pPr algn="r"/>
            <a:fld id="{4F6BF59E-C7AB-4D2C-B602-9844A5FEE556}" type="slidenum">
              <a:rPr lang="en-IN" smtClean="0"/>
              <a:pPr algn="r"/>
              <a:t>‹#›</a:t>
            </a:fld>
            <a:endParaRPr lang="en-IN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68F9F4A-E9C4-4DE1-888B-47AB6BC4F3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8B2D376-0002-4CDE-BDD9-DE187324CB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IN"/>
              <a:t>Microsoft Confidential</a:t>
            </a:r>
            <a:endParaRPr lang="en-IN" sz="784"/>
          </a:p>
        </p:txBody>
      </p:sp>
    </p:spTree>
    <p:extLst>
      <p:ext uri="{BB962C8B-B14F-4D97-AF65-F5344CB8AC3E}">
        <p14:creationId xmlns:p14="http://schemas.microsoft.com/office/powerpoint/2010/main" val="382514499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FBBB7D5D-8061-4C40-9F80-22391639AEE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879420" y="6585883"/>
            <a:ext cx="139862" cy="1357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>
              <a:defRPr lang="en-US" sz="784" smtClean="0">
                <a:solidFill>
                  <a:schemeClr val="bg1"/>
                </a:solidFill>
              </a:defRPr>
            </a:lvl1pPr>
          </a:lstStyle>
          <a:p>
            <a:pPr algn="r"/>
            <a:fld id="{4F6BF59E-C7AB-4D2C-B602-9844A5FEE556}" type="slidenum">
              <a:rPr lang="en-IN" smtClean="0"/>
              <a:pPr algn="r"/>
              <a:t>‹#›</a:t>
            </a:fld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E06C768-78EE-42C4-BF0C-8C77A823057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IN"/>
              <a:t>Microsoft Confidential</a:t>
            </a:r>
            <a:endParaRPr lang="en-IN" sz="784"/>
          </a:p>
        </p:txBody>
      </p:sp>
    </p:spTree>
    <p:extLst>
      <p:ext uri="{BB962C8B-B14F-4D97-AF65-F5344CB8AC3E}">
        <p14:creationId xmlns:p14="http://schemas.microsoft.com/office/powerpoint/2010/main" val="1739318887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-sub half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3EF9E13-E24B-4053-8018-FF1B08AE4CC7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000" b="0" i="0" baseline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bold" panose="020B0702040204020203" pitchFamily="34" charset="0"/>
              <a:ea typeface="+mn-ea"/>
              <a:cs typeface="Segoe UI" pitchFamily="34" charset="0"/>
              <a:sym typeface="Segoe UI Semibold" panose="020B0702040204020203" pitchFamily="34" charset="0"/>
            </a:endParaRP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6553409" y="0"/>
            <a:ext cx="5638591" cy="6858000"/>
          </a:xfrm>
        </p:spPr>
        <p:txBody>
          <a:bodyPr>
            <a:noAutofit/>
          </a:bodyPr>
          <a:lstStyle>
            <a:lvl1pPr marL="0" indent="0" algn="ctr">
              <a:buNone/>
              <a:defRPr sz="2353"/>
            </a:lvl1pPr>
          </a:lstStyle>
          <a:p>
            <a:endParaRPr lang="en-US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48213" y="957258"/>
            <a:ext cx="11292464" cy="461665"/>
          </a:xfrm>
        </p:spPr>
        <p:txBody>
          <a:bodyPr/>
          <a:lstStyle>
            <a:lvl1pPr marL="0" indent="0">
              <a:buNone/>
              <a:defRPr sz="1961">
                <a:latin typeface="+mn-lt"/>
              </a:defRPr>
            </a:lvl1pPr>
            <a:lvl2pPr>
              <a:defRPr sz="1961">
                <a:latin typeface="+mn-lt"/>
              </a:defRPr>
            </a:lvl2pPr>
            <a:lvl3pPr>
              <a:defRPr sz="1765">
                <a:latin typeface="+mn-lt"/>
              </a:defRPr>
            </a:lvl3pPr>
            <a:lvl4pPr>
              <a:defRPr sz="1567">
                <a:latin typeface="+mn-lt"/>
              </a:defRPr>
            </a:lvl4pPr>
            <a:lvl5pPr>
              <a:defRPr sz="1567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D0BA1565-1B42-494F-85A8-AD8DD63A93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879420" y="6585883"/>
            <a:ext cx="139862" cy="1357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>
              <a:defRPr lang="en-US" sz="784" smtClean="0">
                <a:solidFill>
                  <a:schemeClr val="bg1"/>
                </a:solidFill>
              </a:defRPr>
            </a:lvl1pPr>
          </a:lstStyle>
          <a:p>
            <a:pPr algn="r"/>
            <a:fld id="{4F6BF59E-C7AB-4D2C-B602-9844A5FEE556}" type="slidenum">
              <a:rPr lang="en-IN" smtClean="0"/>
              <a:pPr algn="r"/>
              <a:t>‹#›</a:t>
            </a:fld>
            <a:endParaRPr lang="en-IN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8497216-E5CF-4246-8116-FD01E13974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BC8BAEE-9A20-4D42-8935-2A41A7000ED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IN"/>
              <a:t>Microsoft Confidential</a:t>
            </a:r>
            <a:endParaRPr lang="en-IN" sz="784"/>
          </a:p>
        </p:txBody>
      </p:sp>
    </p:spTree>
    <p:extLst>
      <p:ext uri="{BB962C8B-B14F-4D97-AF65-F5344CB8AC3E}">
        <p14:creationId xmlns:p14="http://schemas.microsoft.com/office/powerpoint/2010/main" val="3847194799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26789F1-58E1-43ED-8C0F-46614365C95F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5399" b="0" i="0" baseline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bold" panose="020B0702040204020203" pitchFamily="34" charset="0"/>
              <a:ea typeface="+mn-ea"/>
              <a:cs typeface="Segoe UI" pitchFamily="34" charset="0"/>
              <a:sym typeface="Segoe UI Semibold" panose="020B0702040204020203" pitchFamily="34" charset="0"/>
            </a:endParaRPr>
          </a:p>
        </p:txBody>
      </p:sp>
      <p:pic>
        <p:nvPicPr>
          <p:cNvPr id="18" name="Picture 17" descr="A person standing in front of a building&#10;&#10;Description automatically generated">
            <a:extLst>
              <a:ext uri="{FF2B5EF4-FFF2-40B4-BE49-F238E27FC236}">
                <a16:creationId xmlns:a16="http://schemas.microsoft.com/office/drawing/2014/main" id="{77FF22AD-44D1-4AD8-96C7-4AE2B8F7A85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 flipH="1">
            <a:off x="0" y="0"/>
            <a:ext cx="12200020" cy="6858000"/>
          </a:xfrm>
          <a:custGeom>
            <a:avLst/>
            <a:gdLst>
              <a:gd name="connsiteX0" fmla="*/ 12200020 w 12200020"/>
              <a:gd name="connsiteY0" fmla="*/ 0 h 6858000"/>
              <a:gd name="connsiteX1" fmla="*/ 0 w 12200020"/>
              <a:gd name="connsiteY1" fmla="*/ 0 h 6858000"/>
              <a:gd name="connsiteX2" fmla="*/ 0 w 12200020"/>
              <a:gd name="connsiteY2" fmla="*/ 6858000 h 6858000"/>
              <a:gd name="connsiteX3" fmla="*/ 12200020 w 1220002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200020" h="6858000">
                <a:moveTo>
                  <a:pt x="12200020" y="0"/>
                </a:moveTo>
                <a:lnTo>
                  <a:pt x="0" y="0"/>
                </a:lnTo>
                <a:lnTo>
                  <a:pt x="0" y="6858000"/>
                </a:lnTo>
                <a:lnTo>
                  <a:pt x="12200020" y="6858000"/>
                </a:lnTo>
                <a:close/>
              </a:path>
            </a:pathLst>
          </a:cu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22264909-6853-4C05-82E4-99DD45AEE298}"/>
              </a:ext>
            </a:extLst>
          </p:cNvPr>
          <p:cNvSpPr/>
          <p:nvPr userDrawn="1"/>
        </p:nvSpPr>
        <p:spPr bwMode="auto">
          <a:xfrm>
            <a:off x="8021" y="0"/>
            <a:ext cx="12192000" cy="6858000"/>
          </a:xfrm>
          <a:prstGeom prst="rect">
            <a:avLst/>
          </a:prstGeom>
          <a:gradFill flip="none" rotWithShape="1">
            <a:gsLst>
              <a:gs pos="8000">
                <a:srgbClr val="000000">
                  <a:alpha val="73000"/>
                </a:srgbClr>
              </a:gs>
              <a:gs pos="100000">
                <a:srgbClr val="000000">
                  <a:alpha val="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98F5880F-1C90-422F-A151-90BF047D98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9302" y="3298718"/>
            <a:ext cx="8964185" cy="999376"/>
          </a:xfrm>
          <a:noFill/>
        </p:spPr>
        <p:txBody>
          <a:bodyPr lIns="146304" tIns="91440" rIns="146304" bIns="91440" anchor="b" anchorCtr="0"/>
          <a:lstStyle>
            <a:lvl1pPr>
              <a:defRPr sz="5294" spc="-98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DAC83FAE-129F-4156-80A6-35BC553FC50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69304" y="4299394"/>
            <a:ext cx="7171337" cy="1792326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2745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43B1F090-AF64-4327-9170-78CF59DA9F8B}"/>
              </a:ext>
            </a:extLst>
          </p:cNvPr>
          <p:cNvSpPr txBox="1">
            <a:spLocks/>
          </p:cNvSpPr>
          <p:nvPr userDrawn="1"/>
        </p:nvSpPr>
        <p:spPr bwMode="auto">
          <a:xfrm>
            <a:off x="287233" y="6015725"/>
            <a:ext cx="2958170" cy="537925"/>
          </a:xfrm>
          <a:prstGeom prst="rect">
            <a:avLst/>
          </a:prstGeom>
        </p:spPr>
        <p:txBody>
          <a:bodyPr vert="horz" wrap="square" lIns="143366" tIns="107525" rIns="143366" bIns="107525" rtlCol="0">
            <a:noAutofit/>
          </a:bodyPr>
          <a:lstStyle>
            <a:lvl1pPr marL="0" marR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3200" kern="1200" spc="0" baseline="0">
                <a:gradFill>
                  <a:gsLst>
                    <a:gs pos="4040">
                      <a:srgbClr val="525252"/>
                    </a:gs>
                    <a:gs pos="17000">
                      <a:srgbClr val="525252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84200" marR="0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8001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0287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73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353" b="0">
                <a:solidFill>
                  <a:schemeClr val="tx1"/>
                </a:solidFill>
                <a:latin typeface="+mn-lt"/>
              </a:rPr>
              <a:t>Microsoft Services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B31491FE-BEF0-4EE4-94A2-7AE6B6A8E176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48212" y="445162"/>
            <a:ext cx="1613565" cy="3456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292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29CD7D7D-186F-4A24-8B4E-C50CE67B0360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4599" y="0"/>
            <a:ext cx="12182801" cy="6858000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78" imgH="377" progId="TCLayout.ActiveDocument.1">
                  <p:embed/>
                </p:oleObj>
              </mc:Choice>
              <mc:Fallback>
                <p:oleObj name="think-cell Slide" r:id="rId5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26789F1-58E1-43ED-8C0F-46614365C95F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5399" b="0" i="0" baseline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bold" panose="020B0702040204020203" pitchFamily="34" charset="0"/>
              <a:ea typeface="+mn-ea"/>
              <a:cs typeface="Segoe UI" pitchFamily="34" charset="0"/>
              <a:sym typeface="Segoe UI Semibold" panose="020B0702040204020203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2264909-6853-4C05-82E4-99DD45AEE298}"/>
              </a:ext>
            </a:extLst>
          </p:cNvPr>
          <p:cNvSpPr/>
          <p:nvPr userDrawn="1"/>
        </p:nvSpPr>
        <p:spPr bwMode="auto">
          <a:xfrm>
            <a:off x="8021" y="0"/>
            <a:ext cx="12192000" cy="6858000"/>
          </a:xfrm>
          <a:prstGeom prst="rect">
            <a:avLst/>
          </a:prstGeom>
          <a:gradFill flip="none" rotWithShape="1">
            <a:gsLst>
              <a:gs pos="8000">
                <a:srgbClr val="000000">
                  <a:alpha val="73000"/>
                </a:srgbClr>
              </a:gs>
              <a:gs pos="100000">
                <a:srgbClr val="000000">
                  <a:alpha val="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98F5880F-1C90-422F-A151-90BF047D98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9302" y="3298718"/>
            <a:ext cx="8964185" cy="999376"/>
          </a:xfrm>
          <a:noFill/>
        </p:spPr>
        <p:txBody>
          <a:bodyPr lIns="146304" tIns="91440" rIns="146304" bIns="91440" anchor="b" anchorCtr="0"/>
          <a:lstStyle>
            <a:lvl1pPr>
              <a:defRPr sz="5294" spc="-98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DAC83FAE-129F-4156-80A6-35BC553FC50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69304" y="4299394"/>
            <a:ext cx="7171337" cy="1792326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2745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43B1F090-AF64-4327-9170-78CF59DA9F8B}"/>
              </a:ext>
            </a:extLst>
          </p:cNvPr>
          <p:cNvSpPr txBox="1">
            <a:spLocks/>
          </p:cNvSpPr>
          <p:nvPr userDrawn="1"/>
        </p:nvSpPr>
        <p:spPr bwMode="auto">
          <a:xfrm>
            <a:off x="287233" y="6015725"/>
            <a:ext cx="2958170" cy="537925"/>
          </a:xfrm>
          <a:prstGeom prst="rect">
            <a:avLst/>
          </a:prstGeom>
        </p:spPr>
        <p:txBody>
          <a:bodyPr vert="horz" wrap="square" lIns="143366" tIns="107525" rIns="143366" bIns="107525" rtlCol="0">
            <a:noAutofit/>
          </a:bodyPr>
          <a:lstStyle>
            <a:lvl1pPr marL="0" marR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3200" kern="1200" spc="0" baseline="0">
                <a:gradFill>
                  <a:gsLst>
                    <a:gs pos="4040">
                      <a:srgbClr val="525252"/>
                    </a:gs>
                    <a:gs pos="17000">
                      <a:srgbClr val="525252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84200" marR="0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8001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0287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73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353" b="0">
                <a:solidFill>
                  <a:schemeClr val="tx1"/>
                </a:solidFill>
                <a:latin typeface="+mn-lt"/>
              </a:rPr>
              <a:t>Microsoft Services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B31491FE-BEF0-4EE4-94A2-7AE6B6A8E176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48212" y="445162"/>
            <a:ext cx="1613565" cy="3456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9752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29CD7D7D-186F-4A24-8B4E-C50CE67B0360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4599" y="0"/>
            <a:ext cx="12182801" cy="6858000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78" imgH="377" progId="TCLayout.ActiveDocument.1">
                  <p:embed/>
                </p:oleObj>
              </mc:Choice>
              <mc:Fallback>
                <p:oleObj name="think-cell Slide" r:id="rId5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26789F1-58E1-43ED-8C0F-46614365C95F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5399" b="0" i="0" baseline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bold" panose="020B0702040204020203" pitchFamily="34" charset="0"/>
              <a:ea typeface="+mn-ea"/>
              <a:cs typeface="Segoe UI" pitchFamily="34" charset="0"/>
              <a:sym typeface="Segoe UI Semibold" panose="020B0702040204020203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2264909-6853-4C05-82E4-99DD45AEE298}"/>
              </a:ext>
            </a:extLst>
          </p:cNvPr>
          <p:cNvSpPr/>
          <p:nvPr userDrawn="1"/>
        </p:nvSpPr>
        <p:spPr bwMode="auto">
          <a:xfrm>
            <a:off x="8021" y="0"/>
            <a:ext cx="12192000" cy="6858000"/>
          </a:xfrm>
          <a:prstGeom prst="rect">
            <a:avLst/>
          </a:prstGeom>
          <a:gradFill flip="none" rotWithShape="1">
            <a:gsLst>
              <a:gs pos="8000">
                <a:srgbClr val="000000">
                  <a:alpha val="73000"/>
                </a:srgbClr>
              </a:gs>
              <a:gs pos="100000">
                <a:srgbClr val="000000">
                  <a:alpha val="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98F5880F-1C90-422F-A151-90BF047D98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9302" y="3298718"/>
            <a:ext cx="8964185" cy="999376"/>
          </a:xfrm>
          <a:noFill/>
        </p:spPr>
        <p:txBody>
          <a:bodyPr lIns="146304" tIns="91440" rIns="146304" bIns="91440" anchor="b" anchorCtr="0"/>
          <a:lstStyle>
            <a:lvl1pPr>
              <a:defRPr sz="5294" spc="-98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DAC83FAE-129F-4156-80A6-35BC553FC50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69304" y="4299394"/>
            <a:ext cx="7171337" cy="1792326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2745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B31491FE-BEF0-4EE4-94A2-7AE6B6A8E176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48212" y="445162"/>
            <a:ext cx="1613565" cy="3456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6058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D554618-1743-44B2-8F4F-4FFFA2863D35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4599" y="0"/>
            <a:ext cx="12182801" cy="6858000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78" imgH="377" progId="TCLayout.ActiveDocument.1">
                  <p:embed/>
                </p:oleObj>
              </mc:Choice>
              <mc:Fallback>
                <p:oleObj name="think-cell Slide" r:id="rId5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985E28E-0A63-4E9C-88A3-AD370915CB97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5399" b="0" i="0" baseline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bold" panose="020B0702040204020203" pitchFamily="34" charset="0"/>
              <a:ea typeface="+mn-ea"/>
              <a:cs typeface="Segoe UI" pitchFamily="34" charset="0"/>
              <a:sym typeface="Segoe UI Semibold" panose="020B0702040204020203" pitchFamily="34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83FC02BC-5759-411E-AAB2-F3E87737A396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8000">
                <a:srgbClr val="000000">
                  <a:alpha val="73000"/>
                </a:srgbClr>
              </a:gs>
              <a:gs pos="100000">
                <a:srgbClr val="000000">
                  <a:alpha val="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E05810A4-15A9-4882-83E6-06BA23BC4490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48212" y="445162"/>
            <a:ext cx="1613565" cy="345698"/>
          </a:xfrm>
          <a:prstGeom prst="rect">
            <a:avLst/>
          </a:prstGeom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DFF1A9D7-1FD2-4050-A12D-94349D60BF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9303" y="3298718"/>
            <a:ext cx="10875514" cy="999376"/>
          </a:xfrm>
          <a:noFill/>
        </p:spPr>
        <p:txBody>
          <a:bodyPr lIns="146304" tIns="91440" rIns="146304" bIns="91440" anchor="b" anchorCtr="0"/>
          <a:lstStyle>
            <a:lvl1pPr>
              <a:defRPr sz="5294" spc="-98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8F0837D2-827C-408F-B05A-488C894000C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69304" y="4299394"/>
            <a:ext cx="7171337" cy="1792326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2745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76805320-692D-4436-A922-90A75E476666}"/>
              </a:ext>
            </a:extLst>
          </p:cNvPr>
          <p:cNvSpPr txBox="1">
            <a:spLocks/>
          </p:cNvSpPr>
          <p:nvPr userDrawn="1"/>
        </p:nvSpPr>
        <p:spPr bwMode="auto">
          <a:xfrm>
            <a:off x="287233" y="6015725"/>
            <a:ext cx="2958170" cy="537925"/>
          </a:xfrm>
          <a:prstGeom prst="rect">
            <a:avLst/>
          </a:prstGeom>
        </p:spPr>
        <p:txBody>
          <a:bodyPr vert="horz" wrap="square" lIns="143366" tIns="107525" rIns="143366" bIns="107525" rtlCol="0">
            <a:noAutofit/>
          </a:bodyPr>
          <a:lstStyle>
            <a:lvl1pPr marL="0" marR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3200" kern="1200" spc="0" baseline="0">
                <a:gradFill>
                  <a:gsLst>
                    <a:gs pos="4040">
                      <a:srgbClr val="525252"/>
                    </a:gs>
                    <a:gs pos="17000">
                      <a:srgbClr val="525252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84200" marR="0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8001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0287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73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353" b="0">
                <a:solidFill>
                  <a:schemeClr val="tx1"/>
                </a:solidFill>
                <a:latin typeface="+mn-lt"/>
              </a:rPr>
              <a:t>Microsoft Services</a:t>
            </a:r>
          </a:p>
        </p:txBody>
      </p:sp>
    </p:spTree>
    <p:extLst>
      <p:ext uri="{BB962C8B-B14F-4D97-AF65-F5344CB8AC3E}">
        <p14:creationId xmlns:p14="http://schemas.microsoft.com/office/powerpoint/2010/main" val="6369471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900AA7B-51E8-49E0-9D7C-EBCD5AE489C1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5399" b="0" i="0" baseline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bold" panose="020B0702040204020203" pitchFamily="34" charset="0"/>
              <a:ea typeface="+mn-ea"/>
              <a:cs typeface="Segoe UI" pitchFamily="34" charset="0"/>
              <a:sym typeface="Segoe UI Semibold" panose="020B0702040204020203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C72F376-3E01-45D7-BB96-802CAC6CD5C5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B3DAB5DC-CEF8-4363-9744-14126DA3F5F4}"/>
              </a:ext>
            </a:extLst>
          </p:cNvPr>
          <p:cNvSpPr/>
          <p:nvPr userDrawn="1"/>
        </p:nvSpPr>
        <p:spPr bwMode="auto">
          <a:xfrm>
            <a:off x="4" y="0"/>
            <a:ext cx="12191997" cy="6858000"/>
          </a:xfrm>
          <a:prstGeom prst="rect">
            <a:avLst/>
          </a:prstGeom>
          <a:gradFill flip="none" rotWithShape="1">
            <a:gsLst>
              <a:gs pos="8000">
                <a:srgbClr val="000000">
                  <a:alpha val="73000"/>
                </a:srgbClr>
              </a:gs>
              <a:gs pos="100000">
                <a:srgbClr val="000000">
                  <a:alpha val="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A9F175DB-2A32-4E86-9CB0-D13897BFE33A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48212" y="445162"/>
            <a:ext cx="1613565" cy="345698"/>
          </a:xfrm>
          <a:prstGeom prst="rect">
            <a:avLst/>
          </a:prstGeom>
        </p:spPr>
      </p:pic>
      <p:sp>
        <p:nvSpPr>
          <p:cNvPr id="20" name="Title 1">
            <a:extLst>
              <a:ext uri="{FF2B5EF4-FFF2-40B4-BE49-F238E27FC236}">
                <a16:creationId xmlns:a16="http://schemas.microsoft.com/office/drawing/2014/main" id="{A3D77B23-F633-4604-8AA3-DE29C2E94B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9303" y="3298718"/>
            <a:ext cx="10875514" cy="999376"/>
          </a:xfrm>
          <a:noFill/>
        </p:spPr>
        <p:txBody>
          <a:bodyPr lIns="146304" tIns="91440" rIns="146304" bIns="91440" anchor="b" anchorCtr="0"/>
          <a:lstStyle>
            <a:lvl1pPr>
              <a:defRPr sz="5294" spc="-98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CA75E6B6-5D1A-43E7-9D59-1DE9DE38B93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69304" y="4299394"/>
            <a:ext cx="7171337" cy="1792326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2745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C359D7D3-4CCA-4292-8243-919820AAA418}"/>
              </a:ext>
            </a:extLst>
          </p:cNvPr>
          <p:cNvSpPr txBox="1">
            <a:spLocks/>
          </p:cNvSpPr>
          <p:nvPr userDrawn="1"/>
        </p:nvSpPr>
        <p:spPr bwMode="auto">
          <a:xfrm>
            <a:off x="287233" y="6015725"/>
            <a:ext cx="2958170" cy="537925"/>
          </a:xfrm>
          <a:prstGeom prst="rect">
            <a:avLst/>
          </a:prstGeom>
        </p:spPr>
        <p:txBody>
          <a:bodyPr vert="horz" wrap="square" lIns="143366" tIns="107525" rIns="143366" bIns="107525" rtlCol="0">
            <a:noAutofit/>
          </a:bodyPr>
          <a:lstStyle>
            <a:lvl1pPr marL="0" marR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3200" kern="1200" spc="0" baseline="0">
                <a:gradFill>
                  <a:gsLst>
                    <a:gs pos="4040">
                      <a:srgbClr val="525252"/>
                    </a:gs>
                    <a:gs pos="17000">
                      <a:srgbClr val="525252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84200" marR="0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8001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0287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73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353" b="0">
                <a:solidFill>
                  <a:schemeClr val="tx1"/>
                </a:solidFill>
                <a:latin typeface="+mn-lt"/>
              </a:rPr>
              <a:t>Microsoft Services</a:t>
            </a:r>
          </a:p>
        </p:txBody>
      </p:sp>
    </p:spTree>
    <p:extLst>
      <p:ext uri="{BB962C8B-B14F-4D97-AF65-F5344CB8AC3E}">
        <p14:creationId xmlns:p14="http://schemas.microsoft.com/office/powerpoint/2010/main" val="877501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985E28E-0A63-4E9C-88A3-AD370915CB97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5399" b="0" i="0" baseline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bold" panose="020B0702040204020203" pitchFamily="34" charset="0"/>
              <a:ea typeface="+mn-ea"/>
              <a:cs typeface="Segoe UI" pitchFamily="34" charset="0"/>
              <a:sym typeface="Segoe UI Semibold" panose="020B0702040204020203" pitchFamily="34" charset="0"/>
            </a:endParaRP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0CE4A00E-C4FB-452E-AC8F-4DE3D83C8B4D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83FC02BC-5759-411E-AAB2-F3E87737A396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8000">
                <a:srgbClr val="000000">
                  <a:alpha val="73000"/>
                </a:srgbClr>
              </a:gs>
              <a:gs pos="100000">
                <a:srgbClr val="000000">
                  <a:alpha val="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E05810A4-15A9-4882-83E6-06BA23BC4490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48212" y="445162"/>
            <a:ext cx="1613565" cy="345698"/>
          </a:xfrm>
          <a:prstGeom prst="rect">
            <a:avLst/>
          </a:prstGeom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DFF1A9D7-1FD2-4050-A12D-94349D60BF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9303" y="3298718"/>
            <a:ext cx="10875514" cy="999376"/>
          </a:xfrm>
          <a:noFill/>
        </p:spPr>
        <p:txBody>
          <a:bodyPr lIns="146304" tIns="91440" rIns="146304" bIns="91440" anchor="b" anchorCtr="0"/>
          <a:lstStyle>
            <a:lvl1pPr>
              <a:defRPr sz="5294" spc="-98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8F0837D2-827C-408F-B05A-488C894000C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69304" y="4299394"/>
            <a:ext cx="7171337" cy="1792326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2745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76805320-692D-4436-A922-90A75E476666}"/>
              </a:ext>
            </a:extLst>
          </p:cNvPr>
          <p:cNvSpPr txBox="1">
            <a:spLocks/>
          </p:cNvSpPr>
          <p:nvPr userDrawn="1"/>
        </p:nvSpPr>
        <p:spPr bwMode="auto">
          <a:xfrm>
            <a:off x="287233" y="6015725"/>
            <a:ext cx="2958170" cy="537925"/>
          </a:xfrm>
          <a:prstGeom prst="rect">
            <a:avLst/>
          </a:prstGeom>
        </p:spPr>
        <p:txBody>
          <a:bodyPr vert="horz" wrap="square" lIns="143366" tIns="107525" rIns="143366" bIns="107525" rtlCol="0">
            <a:noAutofit/>
          </a:bodyPr>
          <a:lstStyle>
            <a:lvl1pPr marL="0" marR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3200" kern="1200" spc="0" baseline="0">
                <a:gradFill>
                  <a:gsLst>
                    <a:gs pos="4040">
                      <a:srgbClr val="525252"/>
                    </a:gs>
                    <a:gs pos="17000">
                      <a:srgbClr val="525252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84200" marR="0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8001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0287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73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353" b="0">
                <a:solidFill>
                  <a:schemeClr val="tx1"/>
                </a:solidFill>
                <a:latin typeface="+mn-lt"/>
              </a:rPr>
              <a:t>Microsoft Services</a:t>
            </a:r>
          </a:p>
        </p:txBody>
      </p:sp>
    </p:spTree>
    <p:extLst>
      <p:ext uri="{BB962C8B-B14F-4D97-AF65-F5344CB8AC3E}">
        <p14:creationId xmlns:p14="http://schemas.microsoft.com/office/powerpoint/2010/main" val="1371643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4828531D-ADBC-425D-949B-055A18FA4AB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t="2500" b="13125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78" imgH="377" progId="TCLayout.ActiveDocument.1">
                  <p:embed/>
                </p:oleObj>
              </mc:Choice>
              <mc:Fallback>
                <p:oleObj name="think-cell Slide" r:id="rId5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900AA7B-51E8-49E0-9D7C-EBCD5AE489C1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5399" b="0" i="0" baseline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bold" panose="020B0702040204020203" pitchFamily="34" charset="0"/>
              <a:ea typeface="+mn-ea"/>
              <a:cs typeface="Segoe UI" pitchFamily="34" charset="0"/>
              <a:sym typeface="Segoe UI Semibold" panose="020B0702040204020203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3DAB5DC-CEF8-4363-9744-14126DA3F5F4}"/>
              </a:ext>
            </a:extLst>
          </p:cNvPr>
          <p:cNvSpPr/>
          <p:nvPr userDrawn="1"/>
        </p:nvSpPr>
        <p:spPr bwMode="auto">
          <a:xfrm>
            <a:off x="0" y="0"/>
            <a:ext cx="12191997" cy="6858000"/>
          </a:xfrm>
          <a:prstGeom prst="rect">
            <a:avLst/>
          </a:prstGeom>
          <a:gradFill flip="none" rotWithShape="1">
            <a:gsLst>
              <a:gs pos="8000">
                <a:srgbClr val="000000">
                  <a:alpha val="73000"/>
                </a:srgbClr>
              </a:gs>
              <a:gs pos="100000">
                <a:srgbClr val="000000">
                  <a:alpha val="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A9F175DB-2A32-4E86-9CB0-D13897BFE33A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48212" y="445162"/>
            <a:ext cx="1613565" cy="345698"/>
          </a:xfrm>
          <a:prstGeom prst="rect">
            <a:avLst/>
          </a:prstGeom>
        </p:spPr>
      </p:pic>
      <p:sp>
        <p:nvSpPr>
          <p:cNvPr id="20" name="Title 1">
            <a:extLst>
              <a:ext uri="{FF2B5EF4-FFF2-40B4-BE49-F238E27FC236}">
                <a16:creationId xmlns:a16="http://schemas.microsoft.com/office/drawing/2014/main" id="{A3D77B23-F633-4604-8AA3-DE29C2E94B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9303" y="3298718"/>
            <a:ext cx="10875514" cy="999376"/>
          </a:xfrm>
          <a:noFill/>
        </p:spPr>
        <p:txBody>
          <a:bodyPr lIns="146304" tIns="91440" rIns="146304" bIns="91440" anchor="b" anchorCtr="0"/>
          <a:lstStyle>
            <a:lvl1pPr>
              <a:defRPr sz="5294" spc="-98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CA75E6B6-5D1A-43E7-9D59-1DE9DE38B93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69304" y="4299394"/>
            <a:ext cx="7171337" cy="1792326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2745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C359D7D3-4CCA-4292-8243-919820AAA418}"/>
              </a:ext>
            </a:extLst>
          </p:cNvPr>
          <p:cNvSpPr txBox="1">
            <a:spLocks/>
          </p:cNvSpPr>
          <p:nvPr userDrawn="1"/>
        </p:nvSpPr>
        <p:spPr bwMode="auto">
          <a:xfrm>
            <a:off x="287233" y="6015725"/>
            <a:ext cx="2958170" cy="537925"/>
          </a:xfrm>
          <a:prstGeom prst="rect">
            <a:avLst/>
          </a:prstGeom>
        </p:spPr>
        <p:txBody>
          <a:bodyPr vert="horz" wrap="square" lIns="143366" tIns="107525" rIns="143366" bIns="107525" rtlCol="0">
            <a:noAutofit/>
          </a:bodyPr>
          <a:lstStyle>
            <a:lvl1pPr marL="0" marR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3200" kern="1200" spc="0" baseline="0">
                <a:gradFill>
                  <a:gsLst>
                    <a:gs pos="4040">
                      <a:srgbClr val="525252"/>
                    </a:gs>
                    <a:gs pos="17000">
                      <a:srgbClr val="525252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84200" marR="0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8001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0287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73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353" b="0">
                <a:solidFill>
                  <a:schemeClr val="tx1"/>
                </a:solidFill>
                <a:latin typeface="+mn-lt"/>
              </a:rPr>
              <a:t>Microsoft Services</a:t>
            </a:r>
          </a:p>
        </p:txBody>
      </p:sp>
    </p:spTree>
    <p:extLst>
      <p:ext uri="{BB962C8B-B14F-4D97-AF65-F5344CB8AC3E}">
        <p14:creationId xmlns:p14="http://schemas.microsoft.com/office/powerpoint/2010/main" val="4594870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0"/>
            <a:ext cx="6095136" cy="6858000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6271986" y="1848264"/>
            <a:ext cx="5467404" cy="1793090"/>
          </a:xfrm>
          <a:noFill/>
        </p:spPr>
        <p:txBody>
          <a:bodyPr lIns="0" tIns="91440" rIns="146304" bIns="91440" anchor="ctr" anchorCtr="0"/>
          <a:lstStyle>
            <a:lvl1pPr>
              <a:defRPr sz="5399" spc="-98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6271988" y="3909005"/>
            <a:ext cx="4408978" cy="669314"/>
          </a:xfrm>
          <a:noFill/>
        </p:spPr>
        <p:txBody>
          <a:bodyPr lIns="0" tIns="109728" rIns="146304" bIns="109728" anchor="ctr">
            <a:no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6" name="Text Placeholder 2"/>
          <p:cNvSpPr txBox="1">
            <a:spLocks/>
          </p:cNvSpPr>
          <p:nvPr userDrawn="1"/>
        </p:nvSpPr>
        <p:spPr bwMode="auto">
          <a:xfrm>
            <a:off x="448214" y="193932"/>
            <a:ext cx="2462058" cy="33061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marL="0" marR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3200" kern="1200" spc="0" baseline="0">
                <a:gradFill>
                  <a:gsLst>
                    <a:gs pos="4040">
                      <a:srgbClr val="525252"/>
                    </a:gs>
                    <a:gs pos="17000">
                      <a:srgbClr val="525252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84200" marR="0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8001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0287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73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sz="1765" b="0">
                <a:solidFill>
                  <a:schemeClr val="bg1"/>
                </a:solidFill>
                <a:latin typeface="+mn-lt"/>
              </a:rPr>
              <a:t>Microsoft Services</a:t>
            </a:r>
          </a:p>
        </p:txBody>
      </p:sp>
      <p:sp>
        <p:nvSpPr>
          <p:cNvPr id="17" name="Freeform 17"/>
          <p:cNvSpPr>
            <a:spLocks noEditPoints="1"/>
          </p:cNvSpPr>
          <p:nvPr userDrawn="1"/>
        </p:nvSpPr>
        <p:spPr bwMode="auto">
          <a:xfrm>
            <a:off x="10628788" y="5283915"/>
            <a:ext cx="1110602" cy="1111479"/>
          </a:xfrm>
          <a:custGeom>
            <a:avLst/>
            <a:gdLst>
              <a:gd name="T0" fmla="*/ 327 w 655"/>
              <a:gd name="T1" fmla="*/ 0 h 656"/>
              <a:gd name="T2" fmla="*/ 0 w 655"/>
              <a:gd name="T3" fmla="*/ 328 h 656"/>
              <a:gd name="T4" fmla="*/ 327 w 655"/>
              <a:gd name="T5" fmla="*/ 656 h 656"/>
              <a:gd name="T6" fmla="*/ 655 w 655"/>
              <a:gd name="T7" fmla="*/ 328 h 656"/>
              <a:gd name="T8" fmla="*/ 327 w 655"/>
              <a:gd name="T9" fmla="*/ 0 h 656"/>
              <a:gd name="T10" fmla="*/ 401 w 655"/>
              <a:gd name="T11" fmla="*/ 467 h 656"/>
              <a:gd name="T12" fmla="*/ 375 w 655"/>
              <a:gd name="T13" fmla="*/ 493 h 656"/>
              <a:gd name="T14" fmla="*/ 349 w 655"/>
              <a:gd name="T15" fmla="*/ 467 h 656"/>
              <a:gd name="T16" fmla="*/ 349 w 655"/>
              <a:gd name="T17" fmla="*/ 430 h 656"/>
              <a:gd name="T18" fmla="*/ 401 w 655"/>
              <a:gd name="T19" fmla="*/ 430 h 656"/>
              <a:gd name="T20" fmla="*/ 401 w 655"/>
              <a:gd name="T21" fmla="*/ 467 h 656"/>
              <a:gd name="T22" fmla="*/ 479 w 655"/>
              <a:gd name="T23" fmla="*/ 475 h 656"/>
              <a:gd name="T24" fmla="*/ 442 w 655"/>
              <a:gd name="T25" fmla="*/ 437 h 656"/>
              <a:gd name="T26" fmla="*/ 465 w 655"/>
              <a:gd name="T27" fmla="*/ 415 h 656"/>
              <a:gd name="T28" fmla="*/ 419 w 655"/>
              <a:gd name="T29" fmla="*/ 415 h 656"/>
              <a:gd name="T30" fmla="*/ 419 w 655"/>
              <a:gd name="T31" fmla="*/ 415 h 656"/>
              <a:gd name="T32" fmla="*/ 333 w 655"/>
              <a:gd name="T33" fmla="*/ 415 h 656"/>
              <a:gd name="T34" fmla="*/ 333 w 655"/>
              <a:gd name="T35" fmla="*/ 415 h 656"/>
              <a:gd name="T36" fmla="*/ 272 w 655"/>
              <a:gd name="T37" fmla="*/ 415 h 656"/>
              <a:gd name="T38" fmla="*/ 143 w 655"/>
              <a:gd name="T39" fmla="*/ 286 h 656"/>
              <a:gd name="T40" fmla="*/ 272 w 655"/>
              <a:gd name="T41" fmla="*/ 157 h 656"/>
              <a:gd name="T42" fmla="*/ 401 w 655"/>
              <a:gd name="T43" fmla="*/ 286 h 656"/>
              <a:gd name="T44" fmla="*/ 401 w 655"/>
              <a:gd name="T45" fmla="*/ 347 h 656"/>
              <a:gd name="T46" fmla="*/ 349 w 655"/>
              <a:gd name="T47" fmla="*/ 347 h 656"/>
              <a:gd name="T48" fmla="*/ 349 w 655"/>
              <a:gd name="T49" fmla="*/ 286 h 656"/>
              <a:gd name="T50" fmla="*/ 272 w 655"/>
              <a:gd name="T51" fmla="*/ 209 h 656"/>
              <a:gd name="T52" fmla="*/ 196 w 655"/>
              <a:gd name="T53" fmla="*/ 286 h 656"/>
              <a:gd name="T54" fmla="*/ 272 w 655"/>
              <a:gd name="T55" fmla="*/ 363 h 656"/>
              <a:gd name="T56" fmla="*/ 333 w 655"/>
              <a:gd name="T57" fmla="*/ 363 h 656"/>
              <a:gd name="T58" fmla="*/ 349 w 655"/>
              <a:gd name="T59" fmla="*/ 363 h 656"/>
              <a:gd name="T60" fmla="*/ 401 w 655"/>
              <a:gd name="T61" fmla="*/ 363 h 656"/>
              <a:gd name="T62" fmla="*/ 419 w 655"/>
              <a:gd name="T63" fmla="*/ 363 h 656"/>
              <a:gd name="T64" fmla="*/ 465 w 655"/>
              <a:gd name="T65" fmla="*/ 363 h 656"/>
              <a:gd name="T66" fmla="*/ 442 w 655"/>
              <a:gd name="T67" fmla="*/ 341 h 656"/>
              <a:gd name="T68" fmla="*/ 479 w 655"/>
              <a:gd name="T69" fmla="*/ 304 h 656"/>
              <a:gd name="T70" fmla="*/ 566 w 655"/>
              <a:gd name="T71" fmla="*/ 389 h 656"/>
              <a:gd name="T72" fmla="*/ 479 w 655"/>
              <a:gd name="T73" fmla="*/ 475 h 6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655" h="656">
                <a:moveTo>
                  <a:pt x="327" y="0"/>
                </a:moveTo>
                <a:cubicBezTo>
                  <a:pt x="147" y="0"/>
                  <a:pt x="0" y="147"/>
                  <a:pt x="0" y="328"/>
                </a:cubicBezTo>
                <a:cubicBezTo>
                  <a:pt x="0" y="509"/>
                  <a:pt x="147" y="656"/>
                  <a:pt x="327" y="656"/>
                </a:cubicBezTo>
                <a:cubicBezTo>
                  <a:pt x="508" y="656"/>
                  <a:pt x="655" y="509"/>
                  <a:pt x="655" y="328"/>
                </a:cubicBezTo>
                <a:cubicBezTo>
                  <a:pt x="655" y="147"/>
                  <a:pt x="508" y="0"/>
                  <a:pt x="327" y="0"/>
                </a:cubicBezTo>
                <a:close/>
                <a:moveTo>
                  <a:pt x="401" y="467"/>
                </a:moveTo>
                <a:cubicBezTo>
                  <a:pt x="401" y="481"/>
                  <a:pt x="390" y="493"/>
                  <a:pt x="375" y="493"/>
                </a:cubicBezTo>
                <a:cubicBezTo>
                  <a:pt x="361" y="493"/>
                  <a:pt x="349" y="481"/>
                  <a:pt x="349" y="467"/>
                </a:cubicBezTo>
                <a:cubicBezTo>
                  <a:pt x="349" y="430"/>
                  <a:pt x="349" y="430"/>
                  <a:pt x="349" y="430"/>
                </a:cubicBezTo>
                <a:cubicBezTo>
                  <a:pt x="401" y="430"/>
                  <a:pt x="401" y="430"/>
                  <a:pt x="401" y="430"/>
                </a:cubicBezTo>
                <a:lnTo>
                  <a:pt x="401" y="467"/>
                </a:lnTo>
                <a:close/>
                <a:moveTo>
                  <a:pt x="479" y="475"/>
                </a:moveTo>
                <a:cubicBezTo>
                  <a:pt x="442" y="437"/>
                  <a:pt x="442" y="437"/>
                  <a:pt x="442" y="437"/>
                </a:cubicBezTo>
                <a:cubicBezTo>
                  <a:pt x="465" y="415"/>
                  <a:pt x="465" y="415"/>
                  <a:pt x="465" y="415"/>
                </a:cubicBezTo>
                <a:cubicBezTo>
                  <a:pt x="419" y="415"/>
                  <a:pt x="419" y="415"/>
                  <a:pt x="419" y="415"/>
                </a:cubicBezTo>
                <a:cubicBezTo>
                  <a:pt x="419" y="415"/>
                  <a:pt x="419" y="415"/>
                  <a:pt x="419" y="415"/>
                </a:cubicBezTo>
                <a:cubicBezTo>
                  <a:pt x="333" y="415"/>
                  <a:pt x="333" y="415"/>
                  <a:pt x="333" y="415"/>
                </a:cubicBezTo>
                <a:cubicBezTo>
                  <a:pt x="333" y="415"/>
                  <a:pt x="333" y="415"/>
                  <a:pt x="333" y="415"/>
                </a:cubicBezTo>
                <a:cubicBezTo>
                  <a:pt x="272" y="415"/>
                  <a:pt x="272" y="415"/>
                  <a:pt x="272" y="415"/>
                </a:cubicBezTo>
                <a:cubicBezTo>
                  <a:pt x="201" y="415"/>
                  <a:pt x="143" y="357"/>
                  <a:pt x="143" y="286"/>
                </a:cubicBezTo>
                <a:cubicBezTo>
                  <a:pt x="143" y="215"/>
                  <a:pt x="201" y="157"/>
                  <a:pt x="272" y="157"/>
                </a:cubicBezTo>
                <a:cubicBezTo>
                  <a:pt x="344" y="157"/>
                  <a:pt x="401" y="215"/>
                  <a:pt x="401" y="286"/>
                </a:cubicBezTo>
                <a:cubicBezTo>
                  <a:pt x="401" y="347"/>
                  <a:pt x="401" y="347"/>
                  <a:pt x="401" y="347"/>
                </a:cubicBezTo>
                <a:cubicBezTo>
                  <a:pt x="349" y="347"/>
                  <a:pt x="349" y="347"/>
                  <a:pt x="349" y="347"/>
                </a:cubicBezTo>
                <a:cubicBezTo>
                  <a:pt x="349" y="286"/>
                  <a:pt x="349" y="286"/>
                  <a:pt x="349" y="286"/>
                </a:cubicBezTo>
                <a:cubicBezTo>
                  <a:pt x="349" y="244"/>
                  <a:pt x="315" y="209"/>
                  <a:pt x="272" y="209"/>
                </a:cubicBezTo>
                <a:cubicBezTo>
                  <a:pt x="230" y="209"/>
                  <a:pt x="196" y="244"/>
                  <a:pt x="196" y="286"/>
                </a:cubicBezTo>
                <a:cubicBezTo>
                  <a:pt x="196" y="329"/>
                  <a:pt x="230" y="363"/>
                  <a:pt x="272" y="363"/>
                </a:cubicBezTo>
                <a:cubicBezTo>
                  <a:pt x="333" y="363"/>
                  <a:pt x="333" y="363"/>
                  <a:pt x="333" y="363"/>
                </a:cubicBezTo>
                <a:cubicBezTo>
                  <a:pt x="349" y="363"/>
                  <a:pt x="349" y="363"/>
                  <a:pt x="349" y="363"/>
                </a:cubicBezTo>
                <a:cubicBezTo>
                  <a:pt x="401" y="363"/>
                  <a:pt x="401" y="363"/>
                  <a:pt x="401" y="363"/>
                </a:cubicBezTo>
                <a:cubicBezTo>
                  <a:pt x="419" y="363"/>
                  <a:pt x="419" y="363"/>
                  <a:pt x="419" y="363"/>
                </a:cubicBezTo>
                <a:cubicBezTo>
                  <a:pt x="465" y="363"/>
                  <a:pt x="465" y="363"/>
                  <a:pt x="465" y="363"/>
                </a:cubicBezTo>
                <a:cubicBezTo>
                  <a:pt x="442" y="341"/>
                  <a:pt x="442" y="341"/>
                  <a:pt x="442" y="341"/>
                </a:cubicBezTo>
                <a:cubicBezTo>
                  <a:pt x="479" y="304"/>
                  <a:pt x="479" y="304"/>
                  <a:pt x="479" y="304"/>
                </a:cubicBezTo>
                <a:cubicBezTo>
                  <a:pt x="566" y="389"/>
                  <a:pt x="566" y="389"/>
                  <a:pt x="566" y="389"/>
                </a:cubicBezTo>
                <a:lnTo>
                  <a:pt x="479" y="475"/>
                </a:lnTo>
                <a:close/>
              </a:path>
            </a:pathLst>
          </a:custGeom>
          <a:solidFill>
            <a:srgbClr val="FFFFF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92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424378" y="253712"/>
            <a:ext cx="1628662" cy="3586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1054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</p:spPr>
        <p:txBody>
          <a:bodyPr>
            <a:noAutofit/>
          </a:bodyPr>
          <a:lstStyle>
            <a:lvl1pPr marL="0" indent="0" algn="ctr">
              <a:buNone/>
              <a:defRPr sz="2353"/>
            </a:lvl1pPr>
          </a:lstStyle>
          <a:p>
            <a:endParaRPr lang="en-US"/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4">
            <a:extLst>
              <a:ext uri="{FF2B5EF4-FFF2-40B4-BE49-F238E27FC236}">
                <a16:creationId xmlns:a16="http://schemas.microsoft.com/office/drawing/2014/main" id="{B8EE6F21-7608-466C-9535-66660D5334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8213" y="3099864"/>
            <a:ext cx="8964185" cy="603370"/>
          </a:xfrm>
        </p:spPr>
        <p:txBody>
          <a:bodyPr/>
          <a:lstStyle>
            <a:lvl1pPr>
              <a:defRPr sz="3921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419C646-878F-460A-963B-BCF5728276C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48213" y="4299392"/>
            <a:ext cx="8964184" cy="517065"/>
          </a:xfrm>
        </p:spPr>
        <p:txBody>
          <a:bodyPr/>
          <a:lstStyle>
            <a:lvl1pPr marL="0" indent="0">
              <a:buNone/>
              <a:defRPr sz="2353">
                <a:solidFill>
                  <a:schemeClr val="tx1"/>
                </a:solidFill>
                <a:latin typeface="+mn-lt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6140957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B8083E7-47A5-47BD-B3E8-195F24BB464B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7052" b="0" i="0" baseline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Light" panose="020B0502040204020203" pitchFamily="34" charset="0"/>
              <a:ea typeface="+mn-ea"/>
              <a:cs typeface="Segoe UI" pitchFamily="34" charset="0"/>
              <a:sym typeface="Segoe UI Light" panose="020B05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79736" y="1186359"/>
            <a:ext cx="9859116" cy="118032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6470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29537" y="3877276"/>
            <a:ext cx="9860674" cy="738664"/>
          </a:xfrm>
          <a:noFill/>
        </p:spPr>
        <p:txBody>
          <a:bodyPr lIns="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2541228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7124782-352D-45D7-BD71-971D78BE2BD6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7052" b="0" i="0" baseline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bold" panose="020B0702040204020203" pitchFamily="34" charset="0"/>
              <a:ea typeface="+mn-ea"/>
              <a:cs typeface="Segoe UI" pitchFamily="34" charset="0"/>
              <a:sym typeface="Segoe UI Semibold" panose="020B07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8212" y="2849604"/>
            <a:ext cx="9859116" cy="1180323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6470" b="0" kern="1200" cap="none" spc="-98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3412456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39" y="6171619"/>
            <a:ext cx="11653522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08" tIns="143366" rIns="179208" bIns="143366" numCol="1" anchor="t" anchorCtr="0" compatLnSpc="1">
            <a:prstTxWarp prst="textNoShape">
              <a:avLst/>
            </a:prstTxWarp>
            <a:spAutoFit/>
          </a:bodyPr>
          <a:lstStyle/>
          <a:p>
            <a:pPr defTabSz="913397" eaLnBrk="0" hangingPunct="0"/>
            <a:r>
              <a:rPr lang="en-US" sz="686">
                <a:solidFill>
                  <a:schemeClr val="tx1"/>
                </a:solidFill>
                <a:cs typeface="Segoe UI" pitchFamily="34" charset="0"/>
              </a:rPr>
              <a:t>© 2018 Microsoft Corporation. All rights reserved. 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450202" y="3083656"/>
            <a:ext cx="3223861" cy="6906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307877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losing logo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39" y="6171619"/>
            <a:ext cx="11653522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08" tIns="143366" rIns="179208" bIns="143366" numCol="1" anchor="t" anchorCtr="0" compatLnSpc="1">
            <a:prstTxWarp prst="textNoShape">
              <a:avLst/>
            </a:prstTxWarp>
            <a:spAutoFit/>
          </a:bodyPr>
          <a:lstStyle/>
          <a:p>
            <a:pPr defTabSz="913397" eaLnBrk="0" hangingPunct="0"/>
            <a:r>
              <a:rPr lang="en-US" sz="686" dirty="0">
                <a:solidFill>
                  <a:schemeClr val="tx1"/>
                </a:solidFill>
                <a:cs typeface="Segoe UI" pitchFamily="34" charset="0"/>
              </a:rPr>
              <a:t>© 2020 Microsoft Corporation. All rights reserved. 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450202" y="3083656"/>
            <a:ext cx="3223861" cy="6906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1245530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448213" y="1189178"/>
            <a:ext cx="11294738" cy="2396047"/>
          </a:xfrm>
          <a:prstGeom prst="rect">
            <a:avLst/>
          </a:prstGeom>
        </p:spPr>
        <p:txBody>
          <a:bodyPr/>
          <a:lstStyle>
            <a:lvl1pPr marL="284570" indent="-284570">
              <a:buClr>
                <a:schemeClr val="tx1"/>
              </a:buClr>
              <a:buSzPct val="90000"/>
              <a:buFont typeface="Arial" pitchFamily="34" charset="0"/>
              <a:buChar char="•"/>
              <a:defRPr sz="352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59812" indent="-275242">
              <a:buClr>
                <a:schemeClr val="tx1"/>
              </a:buClr>
              <a:buSzPct val="90000"/>
              <a:buFont typeface="Arial" pitchFamily="34" charset="0"/>
              <a:buChar char="•"/>
              <a:defRPr sz="313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4382" indent="-284570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8306" indent="-223925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2229" indent="-223925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5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3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79842452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95ADA47-5CDE-452E-AE1A-7EA10DF3908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FF30548-83B6-450C-AC75-30E6A9075B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12D77E4-A426-45DA-8E5A-EAA3DEBA5E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971" y="6448383"/>
            <a:ext cx="2742188" cy="181062"/>
          </a:xfrm>
          <a:prstGeom prst="rect">
            <a:avLst/>
          </a:prstGeom>
        </p:spPr>
        <p:txBody>
          <a:bodyPr/>
          <a:lstStyle/>
          <a:p>
            <a:fld id="{A90D2233-49F6-4E53-80AF-E60BE9898A6C}" type="slidenum">
              <a:rPr lang="en-CA" smtClean="0"/>
              <a:t>‹#›</a:t>
            </a:fld>
            <a:endParaRPr lang="en-CA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99DC70E9-D392-4F1B-AA8B-57EF491FBB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202F389-4C8E-49D9-AEA3-381D8612B4B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IN"/>
              <a:t>Microsoft Confidential</a:t>
            </a:r>
            <a:endParaRPr lang="en-IN" sz="784"/>
          </a:p>
        </p:txBody>
      </p:sp>
    </p:spTree>
    <p:extLst>
      <p:ext uri="{BB962C8B-B14F-4D97-AF65-F5344CB8AC3E}">
        <p14:creationId xmlns:p14="http://schemas.microsoft.com/office/powerpoint/2010/main" val="409922802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>
  <p:cSld name="1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0AEBC9-5AFA-416D-B80C-4D40CE604B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9" y="1072515"/>
            <a:ext cx="3932237" cy="984885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8CE955B-1BCA-4214-9B2C-C8AB24A784E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9" y="987426"/>
            <a:ext cx="6172200" cy="624348"/>
          </a:xfrm>
        </p:spPr>
        <p:txBody>
          <a:bodyPr/>
          <a:lstStyle>
            <a:lvl1pPr marL="0" indent="0">
              <a:buNone/>
              <a:defRPr sz="3200"/>
            </a:lvl1pPr>
            <a:lvl2pPr marL="457112" indent="0">
              <a:buNone/>
              <a:defRPr sz="2800"/>
            </a:lvl2pPr>
            <a:lvl3pPr marL="914225" indent="0">
              <a:buNone/>
              <a:defRPr sz="2400"/>
            </a:lvl3pPr>
            <a:lvl4pPr marL="1371337" indent="0">
              <a:buNone/>
              <a:defRPr sz="2000"/>
            </a:lvl4pPr>
            <a:lvl5pPr marL="1828449" indent="0">
              <a:buNone/>
              <a:defRPr sz="2000"/>
            </a:lvl5pPr>
            <a:lvl6pPr marL="2285561" indent="0">
              <a:buNone/>
              <a:defRPr sz="2000"/>
            </a:lvl6pPr>
            <a:lvl7pPr marL="2742674" indent="0">
              <a:buNone/>
              <a:defRPr sz="2000"/>
            </a:lvl7pPr>
            <a:lvl8pPr marL="3199785" indent="0">
              <a:buNone/>
              <a:defRPr sz="2000"/>
            </a:lvl8pPr>
            <a:lvl9pPr marL="3656897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CBED1CF-64F0-4B9F-A3EE-ACE5AB5E627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9" y="2057399"/>
            <a:ext cx="3932237" cy="402674"/>
          </a:xfrm>
        </p:spPr>
        <p:txBody>
          <a:bodyPr/>
          <a:lstStyle>
            <a:lvl1pPr marL="0" indent="0">
              <a:buNone/>
              <a:defRPr sz="1600"/>
            </a:lvl1pPr>
            <a:lvl2pPr marL="457112" indent="0">
              <a:buNone/>
              <a:defRPr sz="1400"/>
            </a:lvl2pPr>
            <a:lvl3pPr marL="914225" indent="0">
              <a:buNone/>
              <a:defRPr sz="1200"/>
            </a:lvl3pPr>
            <a:lvl4pPr marL="1371337" indent="0">
              <a:buNone/>
              <a:defRPr sz="1000"/>
            </a:lvl4pPr>
            <a:lvl5pPr marL="1828449" indent="0">
              <a:buNone/>
              <a:defRPr sz="1000"/>
            </a:lvl5pPr>
            <a:lvl6pPr marL="2285561" indent="0">
              <a:buNone/>
              <a:defRPr sz="1000"/>
            </a:lvl6pPr>
            <a:lvl7pPr marL="2742674" indent="0">
              <a:buNone/>
              <a:defRPr sz="1000"/>
            </a:lvl7pPr>
            <a:lvl8pPr marL="3199785" indent="0">
              <a:buNone/>
              <a:defRPr sz="1000"/>
            </a:lvl8pPr>
            <a:lvl9pPr marL="3656897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AE27D88-3778-4031-82E5-172E2D9F57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DF510F4-2D01-4E61-8509-9FDF0B04A5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971" y="6448383"/>
            <a:ext cx="2742188" cy="181062"/>
          </a:xfrm>
          <a:prstGeom prst="rect">
            <a:avLst/>
          </a:prstGeom>
        </p:spPr>
        <p:txBody>
          <a:bodyPr/>
          <a:lstStyle/>
          <a:p>
            <a:fld id="{DF571800-6A0B-4456-BB91-36EE54790471}" type="slidenum">
              <a:rPr lang="en-US" smtClean="0"/>
              <a:t>‹#›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B6D252B0-E0B7-41CA-AA07-620DFF1BA40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IN"/>
              <a:t>Microsoft Confidential</a:t>
            </a:r>
            <a:endParaRPr lang="en-IN" sz="784"/>
          </a:p>
        </p:txBody>
      </p:sp>
    </p:spTree>
    <p:extLst>
      <p:ext uri="{BB962C8B-B14F-4D97-AF65-F5344CB8AC3E}">
        <p14:creationId xmlns:p14="http://schemas.microsoft.com/office/powerpoint/2010/main" val="20570620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5DED51-CCE6-4B15-BE79-1EE5999C49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95ADA47-5CDE-452E-AE1A-7EA10DF3908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FF30548-83B6-450C-AC75-30E6A9075B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12D77E4-A426-45DA-8E5A-EAA3DEBA5E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971" y="6448383"/>
            <a:ext cx="2742188" cy="181062"/>
          </a:xfrm>
          <a:prstGeom prst="rect">
            <a:avLst/>
          </a:prstGeom>
        </p:spPr>
        <p:txBody>
          <a:bodyPr/>
          <a:lstStyle/>
          <a:p>
            <a:fld id="{A90D2233-49F6-4E53-80AF-E60BE9898A6C}" type="slidenum">
              <a:rPr lang="en-CA" smtClean="0"/>
              <a:t>‹#›</a:t>
            </a:fld>
            <a:endParaRPr lang="en-CA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1E94410-AE7B-4C8E-9816-E84BAC86F69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IN"/>
              <a:t>Microsoft Confidential</a:t>
            </a:r>
            <a:endParaRPr lang="en-IN" sz="784"/>
          </a:p>
        </p:txBody>
      </p:sp>
    </p:spTree>
    <p:extLst>
      <p:ext uri="{BB962C8B-B14F-4D97-AF65-F5344CB8AC3E}">
        <p14:creationId xmlns:p14="http://schemas.microsoft.com/office/powerpoint/2010/main" val="150434697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0AEBC9-5AFA-416D-B80C-4D40CE604B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9" y="1072515"/>
            <a:ext cx="3932237" cy="984885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8CE955B-1BCA-4214-9B2C-C8AB24A784E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9" y="987426"/>
            <a:ext cx="6172200" cy="624348"/>
          </a:xfrm>
        </p:spPr>
        <p:txBody>
          <a:bodyPr/>
          <a:lstStyle>
            <a:lvl1pPr marL="0" indent="0">
              <a:buNone/>
              <a:defRPr sz="3200"/>
            </a:lvl1pPr>
            <a:lvl2pPr marL="457112" indent="0">
              <a:buNone/>
              <a:defRPr sz="2800"/>
            </a:lvl2pPr>
            <a:lvl3pPr marL="914225" indent="0">
              <a:buNone/>
              <a:defRPr sz="2400"/>
            </a:lvl3pPr>
            <a:lvl4pPr marL="1371337" indent="0">
              <a:buNone/>
              <a:defRPr sz="2000"/>
            </a:lvl4pPr>
            <a:lvl5pPr marL="1828449" indent="0">
              <a:buNone/>
              <a:defRPr sz="2000"/>
            </a:lvl5pPr>
            <a:lvl6pPr marL="2285561" indent="0">
              <a:buNone/>
              <a:defRPr sz="2000"/>
            </a:lvl6pPr>
            <a:lvl7pPr marL="2742674" indent="0">
              <a:buNone/>
              <a:defRPr sz="2000"/>
            </a:lvl7pPr>
            <a:lvl8pPr marL="3199785" indent="0">
              <a:buNone/>
              <a:defRPr sz="2000"/>
            </a:lvl8pPr>
            <a:lvl9pPr marL="3656897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CBED1CF-64F0-4B9F-A3EE-ACE5AB5E627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9" y="2057399"/>
            <a:ext cx="3932237" cy="402674"/>
          </a:xfrm>
        </p:spPr>
        <p:txBody>
          <a:bodyPr/>
          <a:lstStyle>
            <a:lvl1pPr marL="0" indent="0">
              <a:buNone/>
              <a:defRPr sz="1600"/>
            </a:lvl1pPr>
            <a:lvl2pPr marL="457112" indent="0">
              <a:buNone/>
              <a:defRPr sz="1400"/>
            </a:lvl2pPr>
            <a:lvl3pPr marL="914225" indent="0">
              <a:buNone/>
              <a:defRPr sz="1200"/>
            </a:lvl3pPr>
            <a:lvl4pPr marL="1371337" indent="0">
              <a:buNone/>
              <a:defRPr sz="1000"/>
            </a:lvl4pPr>
            <a:lvl5pPr marL="1828449" indent="0">
              <a:buNone/>
              <a:defRPr sz="1000"/>
            </a:lvl5pPr>
            <a:lvl6pPr marL="2285561" indent="0">
              <a:buNone/>
              <a:defRPr sz="1000"/>
            </a:lvl6pPr>
            <a:lvl7pPr marL="2742674" indent="0">
              <a:buNone/>
              <a:defRPr sz="1000"/>
            </a:lvl7pPr>
            <a:lvl8pPr marL="3199785" indent="0">
              <a:buNone/>
              <a:defRPr sz="1000"/>
            </a:lvl8pPr>
            <a:lvl9pPr marL="3656897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AE27D88-3778-4031-82E5-172E2D9F57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DF510F4-2D01-4E61-8509-9FDF0B04A5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971" y="6448383"/>
            <a:ext cx="2742188" cy="181062"/>
          </a:xfrm>
          <a:prstGeom prst="rect">
            <a:avLst/>
          </a:prstGeom>
        </p:spPr>
        <p:txBody>
          <a:bodyPr/>
          <a:lstStyle/>
          <a:p>
            <a:fld id="{DF571800-6A0B-4456-BB91-36EE54790471}" type="slidenum">
              <a:rPr lang="en-US" smtClean="0"/>
              <a:t>‹#›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4FA2D9DF-BFED-451C-9236-14C088A4C50F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IN"/>
              <a:t>Microsoft Confidential</a:t>
            </a:r>
            <a:endParaRPr lang="en-IN" sz="784"/>
          </a:p>
        </p:txBody>
      </p:sp>
    </p:spTree>
    <p:extLst>
      <p:ext uri="{BB962C8B-B14F-4D97-AF65-F5344CB8AC3E}">
        <p14:creationId xmlns:p14="http://schemas.microsoft.com/office/powerpoint/2010/main" val="209218777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48211" y="2773707"/>
            <a:ext cx="6483518" cy="1310586"/>
          </a:xfrm>
          <a:noFill/>
        </p:spPr>
        <p:txBody>
          <a:bodyPr lIns="0" tIns="91440" rIns="146304" bIns="91440" anchor="ctr" anchorCtr="0"/>
          <a:lstStyle>
            <a:lvl1pPr>
              <a:defRPr sz="5293" spc="-98" baseline="0">
                <a:solidFill>
                  <a:schemeClr val="bg2"/>
                </a:solidFill>
                <a:latin typeface="+mn-lt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48213" y="4235499"/>
            <a:ext cx="4408978" cy="669314"/>
          </a:xfrm>
          <a:noFill/>
        </p:spPr>
        <p:txBody>
          <a:bodyPr lIns="0" tIns="109728" rIns="146304" bIns="109728" anchor="ctr">
            <a:noAutofit/>
          </a:bodyPr>
          <a:lstStyle>
            <a:lvl1pPr marL="0" indent="0">
              <a:spcBef>
                <a:spcPts val="0"/>
              </a:spcBef>
              <a:buNone/>
              <a:defRPr sz="3136" spc="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15" name="Freeform 14"/>
          <p:cNvSpPr/>
          <p:nvPr userDrawn="1"/>
        </p:nvSpPr>
        <p:spPr bwMode="auto">
          <a:xfrm>
            <a:off x="7087362" y="2773707"/>
            <a:ext cx="5104639" cy="1310586"/>
          </a:xfrm>
          <a:custGeom>
            <a:avLst/>
            <a:gdLst>
              <a:gd name="connsiteX0" fmla="*/ 581026 w 5206998"/>
              <a:gd name="connsiteY0" fmla="*/ 0 h 1336676"/>
              <a:gd name="connsiteX1" fmla="*/ 5206998 w 5206998"/>
              <a:gd name="connsiteY1" fmla="*/ 0 h 1336676"/>
              <a:gd name="connsiteX2" fmla="*/ 5206998 w 5206998"/>
              <a:gd name="connsiteY2" fmla="*/ 1336676 h 1336676"/>
              <a:gd name="connsiteX3" fmla="*/ 581026 w 5206998"/>
              <a:gd name="connsiteY3" fmla="*/ 1336676 h 1336676"/>
              <a:gd name="connsiteX4" fmla="*/ 0 w 5206998"/>
              <a:gd name="connsiteY4" fmla="*/ 668338 h 13366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06998" h="1336676">
                <a:moveTo>
                  <a:pt x="581026" y="0"/>
                </a:moveTo>
                <a:lnTo>
                  <a:pt x="5206998" y="0"/>
                </a:lnTo>
                <a:lnTo>
                  <a:pt x="5206998" y="1336676"/>
                </a:lnTo>
                <a:lnTo>
                  <a:pt x="581026" y="1336676"/>
                </a:lnTo>
                <a:lnTo>
                  <a:pt x="0" y="668338"/>
                </a:lnTo>
                <a:close/>
              </a:path>
            </a:pathLst>
          </a:cu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7" name="Freeform 17"/>
          <p:cNvSpPr>
            <a:spLocks noEditPoints="1"/>
          </p:cNvSpPr>
          <p:nvPr userDrawn="1"/>
        </p:nvSpPr>
        <p:spPr bwMode="auto">
          <a:xfrm>
            <a:off x="7812596" y="2930472"/>
            <a:ext cx="996271" cy="997057"/>
          </a:xfrm>
          <a:custGeom>
            <a:avLst/>
            <a:gdLst>
              <a:gd name="T0" fmla="*/ 327 w 655"/>
              <a:gd name="T1" fmla="*/ 0 h 656"/>
              <a:gd name="T2" fmla="*/ 0 w 655"/>
              <a:gd name="T3" fmla="*/ 328 h 656"/>
              <a:gd name="T4" fmla="*/ 327 w 655"/>
              <a:gd name="T5" fmla="*/ 656 h 656"/>
              <a:gd name="T6" fmla="*/ 655 w 655"/>
              <a:gd name="T7" fmla="*/ 328 h 656"/>
              <a:gd name="T8" fmla="*/ 327 w 655"/>
              <a:gd name="T9" fmla="*/ 0 h 656"/>
              <a:gd name="T10" fmla="*/ 401 w 655"/>
              <a:gd name="T11" fmla="*/ 467 h 656"/>
              <a:gd name="T12" fmla="*/ 375 w 655"/>
              <a:gd name="T13" fmla="*/ 493 h 656"/>
              <a:gd name="T14" fmla="*/ 349 w 655"/>
              <a:gd name="T15" fmla="*/ 467 h 656"/>
              <a:gd name="T16" fmla="*/ 349 w 655"/>
              <a:gd name="T17" fmla="*/ 430 h 656"/>
              <a:gd name="T18" fmla="*/ 401 w 655"/>
              <a:gd name="T19" fmla="*/ 430 h 656"/>
              <a:gd name="T20" fmla="*/ 401 w 655"/>
              <a:gd name="T21" fmla="*/ 467 h 656"/>
              <a:gd name="T22" fmla="*/ 479 w 655"/>
              <a:gd name="T23" fmla="*/ 475 h 656"/>
              <a:gd name="T24" fmla="*/ 442 w 655"/>
              <a:gd name="T25" fmla="*/ 437 h 656"/>
              <a:gd name="T26" fmla="*/ 465 w 655"/>
              <a:gd name="T27" fmla="*/ 415 h 656"/>
              <a:gd name="T28" fmla="*/ 419 w 655"/>
              <a:gd name="T29" fmla="*/ 415 h 656"/>
              <a:gd name="T30" fmla="*/ 419 w 655"/>
              <a:gd name="T31" fmla="*/ 415 h 656"/>
              <a:gd name="T32" fmla="*/ 333 w 655"/>
              <a:gd name="T33" fmla="*/ 415 h 656"/>
              <a:gd name="T34" fmla="*/ 333 w 655"/>
              <a:gd name="T35" fmla="*/ 415 h 656"/>
              <a:gd name="T36" fmla="*/ 272 w 655"/>
              <a:gd name="T37" fmla="*/ 415 h 656"/>
              <a:gd name="T38" fmla="*/ 143 w 655"/>
              <a:gd name="T39" fmla="*/ 286 h 656"/>
              <a:gd name="T40" fmla="*/ 272 w 655"/>
              <a:gd name="T41" fmla="*/ 157 h 656"/>
              <a:gd name="T42" fmla="*/ 401 w 655"/>
              <a:gd name="T43" fmla="*/ 286 h 656"/>
              <a:gd name="T44" fmla="*/ 401 w 655"/>
              <a:gd name="T45" fmla="*/ 347 h 656"/>
              <a:gd name="T46" fmla="*/ 349 w 655"/>
              <a:gd name="T47" fmla="*/ 347 h 656"/>
              <a:gd name="T48" fmla="*/ 349 w 655"/>
              <a:gd name="T49" fmla="*/ 286 h 656"/>
              <a:gd name="T50" fmla="*/ 272 w 655"/>
              <a:gd name="T51" fmla="*/ 209 h 656"/>
              <a:gd name="T52" fmla="*/ 196 w 655"/>
              <a:gd name="T53" fmla="*/ 286 h 656"/>
              <a:gd name="T54" fmla="*/ 272 w 655"/>
              <a:gd name="T55" fmla="*/ 363 h 656"/>
              <a:gd name="T56" fmla="*/ 333 w 655"/>
              <a:gd name="T57" fmla="*/ 363 h 656"/>
              <a:gd name="T58" fmla="*/ 349 w 655"/>
              <a:gd name="T59" fmla="*/ 363 h 656"/>
              <a:gd name="T60" fmla="*/ 401 w 655"/>
              <a:gd name="T61" fmla="*/ 363 h 656"/>
              <a:gd name="T62" fmla="*/ 419 w 655"/>
              <a:gd name="T63" fmla="*/ 363 h 656"/>
              <a:gd name="T64" fmla="*/ 465 w 655"/>
              <a:gd name="T65" fmla="*/ 363 h 656"/>
              <a:gd name="T66" fmla="*/ 442 w 655"/>
              <a:gd name="T67" fmla="*/ 341 h 656"/>
              <a:gd name="T68" fmla="*/ 479 w 655"/>
              <a:gd name="T69" fmla="*/ 304 h 656"/>
              <a:gd name="T70" fmla="*/ 566 w 655"/>
              <a:gd name="T71" fmla="*/ 389 h 656"/>
              <a:gd name="T72" fmla="*/ 479 w 655"/>
              <a:gd name="T73" fmla="*/ 475 h 6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655" h="656">
                <a:moveTo>
                  <a:pt x="327" y="0"/>
                </a:moveTo>
                <a:cubicBezTo>
                  <a:pt x="147" y="0"/>
                  <a:pt x="0" y="147"/>
                  <a:pt x="0" y="328"/>
                </a:cubicBezTo>
                <a:cubicBezTo>
                  <a:pt x="0" y="509"/>
                  <a:pt x="147" y="656"/>
                  <a:pt x="327" y="656"/>
                </a:cubicBezTo>
                <a:cubicBezTo>
                  <a:pt x="508" y="656"/>
                  <a:pt x="655" y="509"/>
                  <a:pt x="655" y="328"/>
                </a:cubicBezTo>
                <a:cubicBezTo>
                  <a:pt x="655" y="147"/>
                  <a:pt x="508" y="0"/>
                  <a:pt x="327" y="0"/>
                </a:cubicBezTo>
                <a:close/>
                <a:moveTo>
                  <a:pt x="401" y="467"/>
                </a:moveTo>
                <a:cubicBezTo>
                  <a:pt x="401" y="481"/>
                  <a:pt x="390" y="493"/>
                  <a:pt x="375" y="493"/>
                </a:cubicBezTo>
                <a:cubicBezTo>
                  <a:pt x="361" y="493"/>
                  <a:pt x="349" y="481"/>
                  <a:pt x="349" y="467"/>
                </a:cubicBezTo>
                <a:cubicBezTo>
                  <a:pt x="349" y="430"/>
                  <a:pt x="349" y="430"/>
                  <a:pt x="349" y="430"/>
                </a:cubicBezTo>
                <a:cubicBezTo>
                  <a:pt x="401" y="430"/>
                  <a:pt x="401" y="430"/>
                  <a:pt x="401" y="430"/>
                </a:cubicBezTo>
                <a:lnTo>
                  <a:pt x="401" y="467"/>
                </a:lnTo>
                <a:close/>
                <a:moveTo>
                  <a:pt x="479" y="475"/>
                </a:moveTo>
                <a:cubicBezTo>
                  <a:pt x="442" y="437"/>
                  <a:pt x="442" y="437"/>
                  <a:pt x="442" y="437"/>
                </a:cubicBezTo>
                <a:cubicBezTo>
                  <a:pt x="465" y="415"/>
                  <a:pt x="465" y="415"/>
                  <a:pt x="465" y="415"/>
                </a:cubicBezTo>
                <a:cubicBezTo>
                  <a:pt x="419" y="415"/>
                  <a:pt x="419" y="415"/>
                  <a:pt x="419" y="415"/>
                </a:cubicBezTo>
                <a:cubicBezTo>
                  <a:pt x="419" y="415"/>
                  <a:pt x="419" y="415"/>
                  <a:pt x="419" y="415"/>
                </a:cubicBezTo>
                <a:cubicBezTo>
                  <a:pt x="333" y="415"/>
                  <a:pt x="333" y="415"/>
                  <a:pt x="333" y="415"/>
                </a:cubicBezTo>
                <a:cubicBezTo>
                  <a:pt x="333" y="415"/>
                  <a:pt x="333" y="415"/>
                  <a:pt x="333" y="415"/>
                </a:cubicBezTo>
                <a:cubicBezTo>
                  <a:pt x="272" y="415"/>
                  <a:pt x="272" y="415"/>
                  <a:pt x="272" y="415"/>
                </a:cubicBezTo>
                <a:cubicBezTo>
                  <a:pt x="201" y="415"/>
                  <a:pt x="143" y="357"/>
                  <a:pt x="143" y="286"/>
                </a:cubicBezTo>
                <a:cubicBezTo>
                  <a:pt x="143" y="215"/>
                  <a:pt x="201" y="157"/>
                  <a:pt x="272" y="157"/>
                </a:cubicBezTo>
                <a:cubicBezTo>
                  <a:pt x="344" y="157"/>
                  <a:pt x="401" y="215"/>
                  <a:pt x="401" y="286"/>
                </a:cubicBezTo>
                <a:cubicBezTo>
                  <a:pt x="401" y="347"/>
                  <a:pt x="401" y="347"/>
                  <a:pt x="401" y="347"/>
                </a:cubicBezTo>
                <a:cubicBezTo>
                  <a:pt x="349" y="347"/>
                  <a:pt x="349" y="347"/>
                  <a:pt x="349" y="347"/>
                </a:cubicBezTo>
                <a:cubicBezTo>
                  <a:pt x="349" y="286"/>
                  <a:pt x="349" y="286"/>
                  <a:pt x="349" y="286"/>
                </a:cubicBezTo>
                <a:cubicBezTo>
                  <a:pt x="349" y="244"/>
                  <a:pt x="315" y="209"/>
                  <a:pt x="272" y="209"/>
                </a:cubicBezTo>
                <a:cubicBezTo>
                  <a:pt x="230" y="209"/>
                  <a:pt x="196" y="244"/>
                  <a:pt x="196" y="286"/>
                </a:cubicBezTo>
                <a:cubicBezTo>
                  <a:pt x="196" y="329"/>
                  <a:pt x="230" y="363"/>
                  <a:pt x="272" y="363"/>
                </a:cubicBezTo>
                <a:cubicBezTo>
                  <a:pt x="333" y="363"/>
                  <a:pt x="333" y="363"/>
                  <a:pt x="333" y="363"/>
                </a:cubicBezTo>
                <a:cubicBezTo>
                  <a:pt x="349" y="363"/>
                  <a:pt x="349" y="363"/>
                  <a:pt x="349" y="363"/>
                </a:cubicBezTo>
                <a:cubicBezTo>
                  <a:pt x="401" y="363"/>
                  <a:pt x="401" y="363"/>
                  <a:pt x="401" y="363"/>
                </a:cubicBezTo>
                <a:cubicBezTo>
                  <a:pt x="419" y="363"/>
                  <a:pt x="419" y="363"/>
                  <a:pt x="419" y="363"/>
                </a:cubicBezTo>
                <a:cubicBezTo>
                  <a:pt x="465" y="363"/>
                  <a:pt x="465" y="363"/>
                  <a:pt x="465" y="363"/>
                </a:cubicBezTo>
                <a:cubicBezTo>
                  <a:pt x="442" y="341"/>
                  <a:pt x="442" y="341"/>
                  <a:pt x="442" y="341"/>
                </a:cubicBezTo>
                <a:cubicBezTo>
                  <a:pt x="479" y="304"/>
                  <a:pt x="479" y="304"/>
                  <a:pt x="479" y="304"/>
                </a:cubicBezTo>
                <a:cubicBezTo>
                  <a:pt x="566" y="389"/>
                  <a:pt x="566" y="389"/>
                  <a:pt x="566" y="389"/>
                </a:cubicBezTo>
                <a:lnTo>
                  <a:pt x="479" y="475"/>
                </a:lnTo>
                <a:close/>
              </a:path>
            </a:pathLst>
          </a:custGeom>
          <a:solidFill>
            <a:srgbClr val="FFFFF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92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448212" y="253712"/>
            <a:ext cx="1628662" cy="358621"/>
          </a:xfrm>
          <a:prstGeom prst="rect">
            <a:avLst/>
          </a:prstGeom>
        </p:spPr>
      </p:pic>
      <p:sp>
        <p:nvSpPr>
          <p:cNvPr id="12" name="Text Placeholder 2"/>
          <p:cNvSpPr txBox="1">
            <a:spLocks/>
          </p:cNvSpPr>
          <p:nvPr userDrawn="1"/>
        </p:nvSpPr>
        <p:spPr bwMode="auto">
          <a:xfrm>
            <a:off x="448214" y="6104015"/>
            <a:ext cx="2462058" cy="33061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marL="0" marR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3200" kern="1200" spc="0" baseline="0">
                <a:gradFill>
                  <a:gsLst>
                    <a:gs pos="4040">
                      <a:srgbClr val="525252"/>
                    </a:gs>
                    <a:gs pos="17000">
                      <a:srgbClr val="525252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84200" marR="0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8001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0287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73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sz="1765" b="0">
                <a:solidFill>
                  <a:schemeClr val="bg1"/>
                </a:solidFill>
                <a:latin typeface="+mn-lt"/>
              </a:rPr>
              <a:t>Microsoft Services</a:t>
            </a:r>
          </a:p>
        </p:txBody>
      </p:sp>
    </p:spTree>
    <p:extLst>
      <p:ext uri="{BB962C8B-B14F-4D97-AF65-F5344CB8AC3E}">
        <p14:creationId xmlns:p14="http://schemas.microsoft.com/office/powerpoint/2010/main" val="31161119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0C1D8F3-CFD9-42CC-86E4-DA1BF51EF462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29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8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Light" panose="020B0502040204020203" pitchFamily="34" charset="0"/>
              <a:ea typeface="+mn-ea"/>
              <a:cs typeface="Segoe UI" pitchFamily="34" charset="0"/>
              <a:sym typeface="Segoe UI Light" panose="020B0502040204020203" pitchFamily="34" charset="0"/>
            </a:endParaRP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0E829AE2-DED2-48C2-B99B-119E6917F34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</p:spPr>
        <p:txBody>
          <a:bodyPr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6" name="Title 4">
            <a:extLst>
              <a:ext uri="{FF2B5EF4-FFF2-40B4-BE49-F238E27FC236}">
                <a16:creationId xmlns:a16="http://schemas.microsoft.com/office/drawing/2014/main" id="{2440308D-7E22-438C-BDA9-7E2DB072B9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8213" y="3093772"/>
            <a:ext cx="8964185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2D33E27-2879-4F56-BE14-4350B1E8B98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48213" y="4299392"/>
            <a:ext cx="8964184" cy="572464"/>
          </a:xfrm>
        </p:spPr>
        <p:txBody>
          <a:bodyPr/>
          <a:lstStyle>
            <a:lvl1pPr marL="0" indent="0">
              <a:buNone/>
              <a:defRPr sz="2800">
                <a:solidFill>
                  <a:schemeClr val="tx1"/>
                </a:solidFill>
                <a:latin typeface="+mn-lt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5015848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Icon libr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445198" y="431210"/>
            <a:ext cx="2065142" cy="10861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32742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000" b="0" cap="none" spc="0" baseline="0" dirty="0" smtClean="0">
                <a:ln w="3175">
                  <a:noFill/>
                </a:ln>
                <a:gradFill>
                  <a:gsLst>
                    <a:gs pos="0">
                      <a:schemeClr val="tx1">
                        <a:lumMod val="60000"/>
                        <a:lumOff val="40000"/>
                      </a:schemeClr>
                    </a:gs>
                    <a:gs pos="100000">
                      <a:schemeClr val="tx1">
                        <a:lumMod val="60000"/>
                        <a:lumOff val="40000"/>
                      </a:schemeClr>
                    </a:gs>
                  </a:gsLst>
                  <a:lin ang="5400000" scaled="0"/>
                </a:gradFill>
                <a:effectLst/>
                <a:cs typeface="Segoe UI" pitchFamily="34" charset="0"/>
              </a:defRPr>
            </a:lvl1pPr>
          </a:lstStyle>
          <a:p>
            <a:pPr lvl="0"/>
            <a:r>
              <a:rPr lang="en-US" sz="784">
                <a:latin typeface="Segoe UI Semibold" panose="020B0702040204020203" pitchFamily="34" charset="0"/>
                <a:cs typeface="Segoe UI Semibold" panose="020B0702040204020203" pitchFamily="34" charset="0"/>
              </a:rPr>
              <a:t>Monoline icons/</a:t>
            </a:r>
            <a:r>
              <a:rPr lang="en-US" sz="784" b="0" kern="1200" cap="none" spc="0" baseline="0">
                <a:ln w="3175">
                  <a:noFill/>
                </a:ln>
                <a:gradFill>
                  <a:gsLst>
                    <a:gs pos="0">
                      <a:schemeClr val="tx1">
                        <a:lumMod val="60000"/>
                        <a:lumOff val="40000"/>
                      </a:schemeClr>
                    </a:gs>
                    <a:gs pos="100000">
                      <a:schemeClr val="tx1">
                        <a:lumMod val="60000"/>
                        <a:lumOff val="40000"/>
                      </a:schemeClr>
                    </a:gs>
                  </a:gsLst>
                  <a:lin ang="5400000" scaled="0"/>
                </a:gradFill>
                <a:effectLst/>
                <a:latin typeface="+mn-lt"/>
                <a:ea typeface="+mn-ea"/>
                <a:cs typeface="Segoe UI Semibold" panose="020B0702040204020203" pitchFamily="34" charset="0"/>
              </a:rPr>
              <a:t>PowerPoint</a:t>
            </a:r>
            <a:endParaRPr lang="en-US" sz="784">
              <a:latin typeface="+mn-lt"/>
              <a:cs typeface="Segoe UI Semibold" panose="020B0702040204020203" pitchFamily="34" charset="0"/>
            </a:endParaRPr>
          </a:p>
        </p:txBody>
      </p:sp>
      <p:grpSp>
        <p:nvGrpSpPr>
          <p:cNvPr id="4" name="Group 3"/>
          <p:cNvGrpSpPr>
            <a:grpSpLocks noChangeAspect="1"/>
          </p:cNvGrpSpPr>
          <p:nvPr userDrawn="1"/>
        </p:nvGrpSpPr>
        <p:grpSpPr>
          <a:xfrm>
            <a:off x="11023168" y="412549"/>
            <a:ext cx="719065" cy="153377"/>
            <a:chOff x="4846638" y="3441700"/>
            <a:chExt cx="5910262" cy="1260475"/>
          </a:xfrm>
        </p:grpSpPr>
        <p:sp>
          <p:nvSpPr>
            <p:cNvPr id="5" name="Freeform 27"/>
            <p:cNvSpPr>
              <a:spLocks noEditPoints="1"/>
            </p:cNvSpPr>
            <p:nvPr/>
          </p:nvSpPr>
          <p:spPr bwMode="auto">
            <a:xfrm>
              <a:off x="6484938" y="3636963"/>
              <a:ext cx="4271962" cy="823913"/>
            </a:xfrm>
            <a:custGeom>
              <a:avLst/>
              <a:gdLst>
                <a:gd name="T0" fmla="*/ 218 w 1139"/>
                <a:gd name="T1" fmla="*/ 217 h 220"/>
                <a:gd name="T2" fmla="*/ 170 w 1139"/>
                <a:gd name="T3" fmla="*/ 15 h 220"/>
                <a:gd name="T4" fmla="*/ 0 w 1139"/>
                <a:gd name="T5" fmla="*/ 15 h 220"/>
                <a:gd name="T6" fmla="*/ 33 w 1139"/>
                <a:gd name="T7" fmla="*/ 62 h 220"/>
                <a:gd name="T8" fmla="*/ 121 w 1139"/>
                <a:gd name="T9" fmla="*/ 217 h 220"/>
                <a:gd name="T10" fmla="*/ 268 w 1139"/>
                <a:gd name="T11" fmla="*/ 11 h 220"/>
                <a:gd name="T12" fmla="*/ 254 w 1139"/>
                <a:gd name="T13" fmla="*/ 44 h 220"/>
                <a:gd name="T14" fmla="*/ 289 w 1139"/>
                <a:gd name="T15" fmla="*/ 31 h 220"/>
                <a:gd name="T16" fmla="*/ 285 w 1139"/>
                <a:gd name="T17" fmla="*/ 72 h 220"/>
                <a:gd name="T18" fmla="*/ 285 w 1139"/>
                <a:gd name="T19" fmla="*/ 217 h 220"/>
                <a:gd name="T20" fmla="*/ 345 w 1139"/>
                <a:gd name="T21" fmla="*/ 79 h 220"/>
                <a:gd name="T22" fmla="*/ 318 w 1139"/>
                <a:gd name="T23" fmla="*/ 185 h 220"/>
                <a:gd name="T24" fmla="*/ 421 w 1139"/>
                <a:gd name="T25" fmla="*/ 211 h 220"/>
                <a:gd name="T26" fmla="*/ 420 w 1139"/>
                <a:gd name="T27" fmla="*/ 180 h 220"/>
                <a:gd name="T28" fmla="*/ 356 w 1139"/>
                <a:gd name="T29" fmla="*/ 180 h 220"/>
                <a:gd name="T30" fmla="*/ 388 w 1139"/>
                <a:gd name="T31" fmla="*/ 97 h 220"/>
                <a:gd name="T32" fmla="*/ 422 w 1139"/>
                <a:gd name="T33" fmla="*/ 76 h 220"/>
                <a:gd name="T34" fmla="*/ 386 w 1139"/>
                <a:gd name="T35" fmla="*/ 69 h 220"/>
                <a:gd name="T36" fmla="*/ 447 w 1139"/>
                <a:gd name="T37" fmla="*/ 72 h 220"/>
                <a:gd name="T38" fmla="*/ 481 w 1139"/>
                <a:gd name="T39" fmla="*/ 143 h 220"/>
                <a:gd name="T40" fmla="*/ 522 w 1139"/>
                <a:gd name="T41" fmla="*/ 102 h 220"/>
                <a:gd name="T42" fmla="*/ 531 w 1139"/>
                <a:gd name="T43" fmla="*/ 72 h 220"/>
                <a:gd name="T44" fmla="*/ 517 w 1139"/>
                <a:gd name="T45" fmla="*/ 70 h 220"/>
                <a:gd name="T46" fmla="*/ 481 w 1139"/>
                <a:gd name="T47" fmla="*/ 97 h 220"/>
                <a:gd name="T48" fmla="*/ 534 w 1139"/>
                <a:gd name="T49" fmla="*/ 146 h 220"/>
                <a:gd name="T50" fmla="*/ 662 w 1139"/>
                <a:gd name="T51" fmla="*/ 199 h 220"/>
                <a:gd name="T52" fmla="*/ 610 w 1139"/>
                <a:gd name="T53" fmla="*/ 69 h 220"/>
                <a:gd name="T54" fmla="*/ 569 w 1139"/>
                <a:gd name="T55" fmla="*/ 145 h 220"/>
                <a:gd name="T56" fmla="*/ 636 w 1139"/>
                <a:gd name="T57" fmla="*/ 109 h 220"/>
                <a:gd name="T58" fmla="*/ 609 w 1139"/>
                <a:gd name="T59" fmla="*/ 192 h 220"/>
                <a:gd name="T60" fmla="*/ 698 w 1139"/>
                <a:gd name="T61" fmla="*/ 113 h 220"/>
                <a:gd name="T62" fmla="*/ 733 w 1139"/>
                <a:gd name="T63" fmla="*/ 156 h 220"/>
                <a:gd name="T64" fmla="*/ 760 w 1139"/>
                <a:gd name="T65" fmla="*/ 179 h 220"/>
                <a:gd name="T66" fmla="*/ 700 w 1139"/>
                <a:gd name="T67" fmla="*/ 180 h 220"/>
                <a:gd name="T68" fmla="*/ 699 w 1139"/>
                <a:gd name="T69" fmla="*/ 212 h 220"/>
                <a:gd name="T70" fmla="*/ 779 w 1139"/>
                <a:gd name="T71" fmla="*/ 208 h 220"/>
                <a:gd name="T72" fmla="*/ 757 w 1139"/>
                <a:gd name="T73" fmla="*/ 132 h 220"/>
                <a:gd name="T74" fmla="*/ 738 w 1139"/>
                <a:gd name="T75" fmla="*/ 100 h 220"/>
                <a:gd name="T76" fmla="*/ 785 w 1139"/>
                <a:gd name="T77" fmla="*/ 105 h 220"/>
                <a:gd name="T78" fmla="*/ 786 w 1139"/>
                <a:gd name="T79" fmla="*/ 75 h 220"/>
                <a:gd name="T80" fmla="*/ 886 w 1139"/>
                <a:gd name="T81" fmla="*/ 69 h 220"/>
                <a:gd name="T82" fmla="*/ 829 w 1139"/>
                <a:gd name="T83" fmla="*/ 200 h 220"/>
                <a:gd name="T84" fmla="*/ 958 w 1139"/>
                <a:gd name="T85" fmla="*/ 143 h 220"/>
                <a:gd name="T86" fmla="*/ 884 w 1139"/>
                <a:gd name="T87" fmla="*/ 192 h 220"/>
                <a:gd name="T88" fmla="*/ 855 w 1139"/>
                <a:gd name="T89" fmla="*/ 109 h 220"/>
                <a:gd name="T90" fmla="*/ 922 w 1139"/>
                <a:gd name="T91" fmla="*/ 144 h 220"/>
                <a:gd name="T92" fmla="*/ 1104 w 1139"/>
                <a:gd name="T93" fmla="*/ 100 h 220"/>
                <a:gd name="T94" fmla="*/ 1124 w 1139"/>
                <a:gd name="T95" fmla="*/ 192 h 220"/>
                <a:gd name="T96" fmla="*/ 1139 w 1139"/>
                <a:gd name="T97" fmla="*/ 187 h 220"/>
                <a:gd name="T98" fmla="*/ 1128 w 1139"/>
                <a:gd name="T99" fmla="*/ 219 h 220"/>
                <a:gd name="T100" fmla="*/ 1070 w 1139"/>
                <a:gd name="T101" fmla="*/ 100 h 220"/>
                <a:gd name="T102" fmla="*/ 985 w 1139"/>
                <a:gd name="T103" fmla="*/ 217 h 220"/>
                <a:gd name="T104" fmla="*/ 961 w 1139"/>
                <a:gd name="T105" fmla="*/ 72 h 220"/>
                <a:gd name="T106" fmla="*/ 991 w 1139"/>
                <a:gd name="T107" fmla="*/ 25 h 220"/>
                <a:gd name="T108" fmla="*/ 1056 w 1139"/>
                <a:gd name="T109" fmla="*/ 3 h 220"/>
                <a:gd name="T110" fmla="*/ 1056 w 1139"/>
                <a:gd name="T111" fmla="*/ 32 h 220"/>
                <a:gd name="T112" fmla="*/ 1019 w 1139"/>
                <a:gd name="T113" fmla="*/ 54 h 220"/>
                <a:gd name="T114" fmla="*/ 1070 w 1139"/>
                <a:gd name="T115" fmla="*/ 40 h 220"/>
                <a:gd name="T116" fmla="*/ 1104 w 1139"/>
                <a:gd name="T117" fmla="*/ 29 h 220"/>
                <a:gd name="T118" fmla="*/ 1139 w 1139"/>
                <a:gd name="T119" fmla="*/ 10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139" h="220">
                  <a:moveTo>
                    <a:pt x="184" y="62"/>
                  </a:moveTo>
                  <a:cubicBezTo>
                    <a:pt x="184" y="217"/>
                    <a:pt x="184" y="217"/>
                    <a:pt x="184" y="217"/>
                  </a:cubicBezTo>
                  <a:cubicBezTo>
                    <a:pt x="218" y="217"/>
                    <a:pt x="218" y="217"/>
                    <a:pt x="218" y="217"/>
                  </a:cubicBezTo>
                  <a:cubicBezTo>
                    <a:pt x="218" y="15"/>
                    <a:pt x="218" y="15"/>
                    <a:pt x="218" y="15"/>
                  </a:cubicBezTo>
                  <a:cubicBezTo>
                    <a:pt x="218" y="15"/>
                    <a:pt x="218" y="15"/>
                    <a:pt x="218" y="15"/>
                  </a:cubicBezTo>
                  <a:cubicBezTo>
                    <a:pt x="170" y="15"/>
                    <a:pt x="170" y="15"/>
                    <a:pt x="170" y="15"/>
                  </a:cubicBezTo>
                  <a:cubicBezTo>
                    <a:pt x="109" y="165"/>
                    <a:pt x="109" y="165"/>
                    <a:pt x="109" y="16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33" y="217"/>
                    <a:pt x="33" y="217"/>
                    <a:pt x="33" y="217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96" y="217"/>
                    <a:pt x="96" y="217"/>
                    <a:pt x="96" y="217"/>
                  </a:cubicBezTo>
                  <a:cubicBezTo>
                    <a:pt x="121" y="217"/>
                    <a:pt x="121" y="217"/>
                    <a:pt x="121" y="217"/>
                  </a:cubicBezTo>
                  <a:cubicBezTo>
                    <a:pt x="183" y="62"/>
                    <a:pt x="183" y="62"/>
                    <a:pt x="183" y="62"/>
                  </a:cubicBezTo>
                  <a:lnTo>
                    <a:pt x="184" y="62"/>
                  </a:lnTo>
                  <a:close/>
                  <a:moveTo>
                    <a:pt x="268" y="11"/>
                  </a:moveTo>
                  <a:cubicBezTo>
                    <a:pt x="263" y="11"/>
                    <a:pt x="258" y="13"/>
                    <a:pt x="254" y="16"/>
                  </a:cubicBezTo>
                  <a:cubicBezTo>
                    <a:pt x="250" y="20"/>
                    <a:pt x="248" y="25"/>
                    <a:pt x="248" y="31"/>
                  </a:cubicBezTo>
                  <a:cubicBezTo>
                    <a:pt x="248" y="36"/>
                    <a:pt x="250" y="41"/>
                    <a:pt x="254" y="44"/>
                  </a:cubicBezTo>
                  <a:cubicBezTo>
                    <a:pt x="258" y="48"/>
                    <a:pt x="263" y="50"/>
                    <a:pt x="268" y="50"/>
                  </a:cubicBezTo>
                  <a:cubicBezTo>
                    <a:pt x="274" y="50"/>
                    <a:pt x="279" y="48"/>
                    <a:pt x="283" y="44"/>
                  </a:cubicBezTo>
                  <a:cubicBezTo>
                    <a:pt x="287" y="41"/>
                    <a:pt x="289" y="36"/>
                    <a:pt x="289" y="31"/>
                  </a:cubicBezTo>
                  <a:cubicBezTo>
                    <a:pt x="289" y="25"/>
                    <a:pt x="287" y="20"/>
                    <a:pt x="283" y="17"/>
                  </a:cubicBezTo>
                  <a:cubicBezTo>
                    <a:pt x="279" y="13"/>
                    <a:pt x="274" y="11"/>
                    <a:pt x="268" y="11"/>
                  </a:cubicBezTo>
                  <a:close/>
                  <a:moveTo>
                    <a:pt x="285" y="72"/>
                  </a:moveTo>
                  <a:cubicBezTo>
                    <a:pt x="251" y="72"/>
                    <a:pt x="251" y="72"/>
                    <a:pt x="251" y="72"/>
                  </a:cubicBezTo>
                  <a:cubicBezTo>
                    <a:pt x="251" y="217"/>
                    <a:pt x="251" y="217"/>
                    <a:pt x="251" y="217"/>
                  </a:cubicBezTo>
                  <a:cubicBezTo>
                    <a:pt x="285" y="217"/>
                    <a:pt x="285" y="217"/>
                    <a:pt x="285" y="217"/>
                  </a:cubicBezTo>
                  <a:cubicBezTo>
                    <a:pt x="285" y="72"/>
                    <a:pt x="285" y="72"/>
                    <a:pt x="285" y="72"/>
                  </a:cubicBezTo>
                  <a:close/>
                  <a:moveTo>
                    <a:pt x="386" y="69"/>
                  </a:moveTo>
                  <a:cubicBezTo>
                    <a:pt x="371" y="69"/>
                    <a:pt x="357" y="72"/>
                    <a:pt x="345" y="79"/>
                  </a:cubicBezTo>
                  <a:cubicBezTo>
                    <a:pt x="333" y="85"/>
                    <a:pt x="324" y="95"/>
                    <a:pt x="318" y="107"/>
                  </a:cubicBezTo>
                  <a:cubicBezTo>
                    <a:pt x="312" y="119"/>
                    <a:pt x="309" y="133"/>
                    <a:pt x="309" y="148"/>
                  </a:cubicBezTo>
                  <a:cubicBezTo>
                    <a:pt x="309" y="162"/>
                    <a:pt x="312" y="174"/>
                    <a:pt x="318" y="185"/>
                  </a:cubicBezTo>
                  <a:cubicBezTo>
                    <a:pt x="324" y="196"/>
                    <a:pt x="332" y="205"/>
                    <a:pt x="343" y="211"/>
                  </a:cubicBezTo>
                  <a:cubicBezTo>
                    <a:pt x="354" y="217"/>
                    <a:pt x="366" y="220"/>
                    <a:pt x="380" y="220"/>
                  </a:cubicBezTo>
                  <a:cubicBezTo>
                    <a:pt x="396" y="220"/>
                    <a:pt x="410" y="217"/>
                    <a:pt x="421" y="211"/>
                  </a:cubicBezTo>
                  <a:cubicBezTo>
                    <a:pt x="422" y="210"/>
                    <a:pt x="422" y="210"/>
                    <a:pt x="422" y="210"/>
                  </a:cubicBezTo>
                  <a:cubicBezTo>
                    <a:pt x="422" y="179"/>
                    <a:pt x="422" y="179"/>
                    <a:pt x="422" y="179"/>
                  </a:cubicBezTo>
                  <a:cubicBezTo>
                    <a:pt x="420" y="180"/>
                    <a:pt x="420" y="180"/>
                    <a:pt x="420" y="180"/>
                  </a:cubicBezTo>
                  <a:cubicBezTo>
                    <a:pt x="415" y="184"/>
                    <a:pt x="410" y="187"/>
                    <a:pt x="404" y="189"/>
                  </a:cubicBezTo>
                  <a:cubicBezTo>
                    <a:pt x="398" y="191"/>
                    <a:pt x="392" y="192"/>
                    <a:pt x="387" y="192"/>
                  </a:cubicBezTo>
                  <a:cubicBezTo>
                    <a:pt x="374" y="192"/>
                    <a:pt x="363" y="188"/>
                    <a:pt x="356" y="180"/>
                  </a:cubicBezTo>
                  <a:cubicBezTo>
                    <a:pt x="348" y="171"/>
                    <a:pt x="344" y="160"/>
                    <a:pt x="344" y="145"/>
                  </a:cubicBezTo>
                  <a:cubicBezTo>
                    <a:pt x="344" y="131"/>
                    <a:pt x="348" y="119"/>
                    <a:pt x="356" y="110"/>
                  </a:cubicBezTo>
                  <a:cubicBezTo>
                    <a:pt x="364" y="101"/>
                    <a:pt x="375" y="97"/>
                    <a:pt x="388" y="97"/>
                  </a:cubicBezTo>
                  <a:cubicBezTo>
                    <a:pt x="399" y="97"/>
                    <a:pt x="410" y="101"/>
                    <a:pt x="420" y="108"/>
                  </a:cubicBezTo>
                  <a:cubicBezTo>
                    <a:pt x="422" y="109"/>
                    <a:pt x="422" y="109"/>
                    <a:pt x="422" y="109"/>
                  </a:cubicBezTo>
                  <a:cubicBezTo>
                    <a:pt x="422" y="76"/>
                    <a:pt x="422" y="76"/>
                    <a:pt x="422" y="76"/>
                  </a:cubicBezTo>
                  <a:cubicBezTo>
                    <a:pt x="421" y="76"/>
                    <a:pt x="421" y="76"/>
                    <a:pt x="421" y="76"/>
                  </a:cubicBezTo>
                  <a:cubicBezTo>
                    <a:pt x="417" y="74"/>
                    <a:pt x="412" y="72"/>
                    <a:pt x="405" y="71"/>
                  </a:cubicBezTo>
                  <a:cubicBezTo>
                    <a:pt x="399" y="69"/>
                    <a:pt x="393" y="69"/>
                    <a:pt x="386" y="69"/>
                  </a:cubicBezTo>
                  <a:close/>
                  <a:moveTo>
                    <a:pt x="481" y="97"/>
                  </a:moveTo>
                  <a:cubicBezTo>
                    <a:pt x="481" y="72"/>
                    <a:pt x="481" y="72"/>
                    <a:pt x="481" y="72"/>
                  </a:cubicBezTo>
                  <a:cubicBezTo>
                    <a:pt x="447" y="72"/>
                    <a:pt x="447" y="72"/>
                    <a:pt x="447" y="72"/>
                  </a:cubicBezTo>
                  <a:cubicBezTo>
                    <a:pt x="447" y="217"/>
                    <a:pt x="447" y="217"/>
                    <a:pt x="447" y="217"/>
                  </a:cubicBezTo>
                  <a:cubicBezTo>
                    <a:pt x="481" y="217"/>
                    <a:pt x="481" y="217"/>
                    <a:pt x="481" y="217"/>
                  </a:cubicBezTo>
                  <a:cubicBezTo>
                    <a:pt x="481" y="143"/>
                    <a:pt x="481" y="143"/>
                    <a:pt x="481" y="143"/>
                  </a:cubicBezTo>
                  <a:cubicBezTo>
                    <a:pt x="481" y="130"/>
                    <a:pt x="484" y="120"/>
                    <a:pt x="490" y="112"/>
                  </a:cubicBezTo>
                  <a:cubicBezTo>
                    <a:pt x="495" y="104"/>
                    <a:pt x="503" y="100"/>
                    <a:pt x="512" y="100"/>
                  </a:cubicBezTo>
                  <a:cubicBezTo>
                    <a:pt x="515" y="100"/>
                    <a:pt x="518" y="101"/>
                    <a:pt x="522" y="102"/>
                  </a:cubicBezTo>
                  <a:cubicBezTo>
                    <a:pt x="526" y="103"/>
                    <a:pt x="528" y="104"/>
                    <a:pt x="530" y="105"/>
                  </a:cubicBezTo>
                  <a:cubicBezTo>
                    <a:pt x="531" y="106"/>
                    <a:pt x="531" y="106"/>
                    <a:pt x="531" y="106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28" y="70"/>
                    <a:pt x="523" y="70"/>
                    <a:pt x="517" y="70"/>
                  </a:cubicBezTo>
                  <a:cubicBezTo>
                    <a:pt x="517" y="70"/>
                    <a:pt x="517" y="70"/>
                    <a:pt x="517" y="70"/>
                  </a:cubicBezTo>
                  <a:cubicBezTo>
                    <a:pt x="509" y="70"/>
                    <a:pt x="501" y="72"/>
                    <a:pt x="495" y="78"/>
                  </a:cubicBezTo>
                  <a:cubicBezTo>
                    <a:pt x="489" y="83"/>
                    <a:pt x="485" y="89"/>
                    <a:pt x="482" y="97"/>
                  </a:cubicBezTo>
                  <a:lnTo>
                    <a:pt x="481" y="97"/>
                  </a:lnTo>
                  <a:close/>
                  <a:moveTo>
                    <a:pt x="610" y="69"/>
                  </a:moveTo>
                  <a:cubicBezTo>
                    <a:pt x="586" y="69"/>
                    <a:pt x="567" y="76"/>
                    <a:pt x="554" y="89"/>
                  </a:cubicBezTo>
                  <a:cubicBezTo>
                    <a:pt x="540" y="103"/>
                    <a:pt x="534" y="122"/>
                    <a:pt x="534" y="146"/>
                  </a:cubicBezTo>
                  <a:cubicBezTo>
                    <a:pt x="534" y="169"/>
                    <a:pt x="540" y="187"/>
                    <a:pt x="553" y="200"/>
                  </a:cubicBezTo>
                  <a:cubicBezTo>
                    <a:pt x="567" y="213"/>
                    <a:pt x="584" y="220"/>
                    <a:pt x="607" y="220"/>
                  </a:cubicBezTo>
                  <a:cubicBezTo>
                    <a:pt x="630" y="220"/>
                    <a:pt x="648" y="213"/>
                    <a:pt x="662" y="199"/>
                  </a:cubicBezTo>
                  <a:cubicBezTo>
                    <a:pt x="675" y="185"/>
                    <a:pt x="682" y="166"/>
                    <a:pt x="682" y="143"/>
                  </a:cubicBezTo>
                  <a:cubicBezTo>
                    <a:pt x="682" y="120"/>
                    <a:pt x="676" y="102"/>
                    <a:pt x="663" y="89"/>
                  </a:cubicBezTo>
                  <a:cubicBezTo>
                    <a:pt x="650" y="75"/>
                    <a:pt x="632" y="69"/>
                    <a:pt x="610" y="69"/>
                  </a:cubicBezTo>
                  <a:close/>
                  <a:moveTo>
                    <a:pt x="609" y="192"/>
                  </a:moveTo>
                  <a:cubicBezTo>
                    <a:pt x="596" y="192"/>
                    <a:pt x="586" y="188"/>
                    <a:pt x="579" y="180"/>
                  </a:cubicBezTo>
                  <a:cubicBezTo>
                    <a:pt x="572" y="172"/>
                    <a:pt x="569" y="160"/>
                    <a:pt x="569" y="145"/>
                  </a:cubicBezTo>
                  <a:cubicBezTo>
                    <a:pt x="569" y="130"/>
                    <a:pt x="572" y="118"/>
                    <a:pt x="579" y="109"/>
                  </a:cubicBezTo>
                  <a:cubicBezTo>
                    <a:pt x="586" y="101"/>
                    <a:pt x="596" y="97"/>
                    <a:pt x="608" y="97"/>
                  </a:cubicBezTo>
                  <a:cubicBezTo>
                    <a:pt x="620" y="97"/>
                    <a:pt x="630" y="101"/>
                    <a:pt x="636" y="109"/>
                  </a:cubicBezTo>
                  <a:cubicBezTo>
                    <a:pt x="643" y="117"/>
                    <a:pt x="647" y="129"/>
                    <a:pt x="647" y="144"/>
                  </a:cubicBezTo>
                  <a:cubicBezTo>
                    <a:pt x="647" y="160"/>
                    <a:pt x="644" y="172"/>
                    <a:pt x="637" y="180"/>
                  </a:cubicBezTo>
                  <a:cubicBezTo>
                    <a:pt x="631" y="188"/>
                    <a:pt x="621" y="192"/>
                    <a:pt x="609" y="192"/>
                  </a:cubicBezTo>
                  <a:close/>
                  <a:moveTo>
                    <a:pt x="754" y="69"/>
                  </a:moveTo>
                  <a:cubicBezTo>
                    <a:pt x="737" y="69"/>
                    <a:pt x="724" y="73"/>
                    <a:pt x="714" y="81"/>
                  </a:cubicBezTo>
                  <a:cubicBezTo>
                    <a:pt x="703" y="89"/>
                    <a:pt x="698" y="100"/>
                    <a:pt x="698" y="113"/>
                  </a:cubicBezTo>
                  <a:cubicBezTo>
                    <a:pt x="698" y="120"/>
                    <a:pt x="699" y="126"/>
                    <a:pt x="702" y="131"/>
                  </a:cubicBezTo>
                  <a:cubicBezTo>
                    <a:pt x="704" y="136"/>
                    <a:pt x="707" y="141"/>
                    <a:pt x="712" y="144"/>
                  </a:cubicBezTo>
                  <a:cubicBezTo>
                    <a:pt x="716" y="148"/>
                    <a:pt x="723" y="152"/>
                    <a:pt x="733" y="156"/>
                  </a:cubicBezTo>
                  <a:cubicBezTo>
                    <a:pt x="741" y="159"/>
                    <a:pt x="746" y="162"/>
                    <a:pt x="750" y="164"/>
                  </a:cubicBezTo>
                  <a:cubicBezTo>
                    <a:pt x="754" y="166"/>
                    <a:pt x="756" y="168"/>
                    <a:pt x="758" y="171"/>
                  </a:cubicBezTo>
                  <a:cubicBezTo>
                    <a:pt x="759" y="173"/>
                    <a:pt x="760" y="175"/>
                    <a:pt x="760" y="179"/>
                  </a:cubicBezTo>
                  <a:cubicBezTo>
                    <a:pt x="760" y="188"/>
                    <a:pt x="753" y="193"/>
                    <a:pt x="738" y="193"/>
                  </a:cubicBezTo>
                  <a:cubicBezTo>
                    <a:pt x="732" y="193"/>
                    <a:pt x="726" y="192"/>
                    <a:pt x="719" y="190"/>
                  </a:cubicBezTo>
                  <a:cubicBezTo>
                    <a:pt x="712" y="187"/>
                    <a:pt x="705" y="184"/>
                    <a:pt x="700" y="180"/>
                  </a:cubicBezTo>
                  <a:cubicBezTo>
                    <a:pt x="698" y="179"/>
                    <a:pt x="698" y="179"/>
                    <a:pt x="698" y="179"/>
                  </a:cubicBezTo>
                  <a:cubicBezTo>
                    <a:pt x="698" y="212"/>
                    <a:pt x="698" y="212"/>
                    <a:pt x="698" y="212"/>
                  </a:cubicBezTo>
                  <a:cubicBezTo>
                    <a:pt x="699" y="212"/>
                    <a:pt x="699" y="212"/>
                    <a:pt x="699" y="212"/>
                  </a:cubicBezTo>
                  <a:cubicBezTo>
                    <a:pt x="704" y="215"/>
                    <a:pt x="710" y="216"/>
                    <a:pt x="717" y="218"/>
                  </a:cubicBezTo>
                  <a:cubicBezTo>
                    <a:pt x="724" y="219"/>
                    <a:pt x="731" y="220"/>
                    <a:pt x="736" y="220"/>
                  </a:cubicBezTo>
                  <a:cubicBezTo>
                    <a:pt x="754" y="220"/>
                    <a:pt x="768" y="216"/>
                    <a:pt x="779" y="208"/>
                  </a:cubicBezTo>
                  <a:cubicBezTo>
                    <a:pt x="789" y="200"/>
                    <a:pt x="794" y="188"/>
                    <a:pt x="794" y="175"/>
                  </a:cubicBezTo>
                  <a:cubicBezTo>
                    <a:pt x="794" y="165"/>
                    <a:pt x="791" y="157"/>
                    <a:pt x="786" y="150"/>
                  </a:cubicBezTo>
                  <a:cubicBezTo>
                    <a:pt x="780" y="143"/>
                    <a:pt x="771" y="137"/>
                    <a:pt x="757" y="132"/>
                  </a:cubicBezTo>
                  <a:cubicBezTo>
                    <a:pt x="746" y="128"/>
                    <a:pt x="740" y="124"/>
                    <a:pt x="737" y="121"/>
                  </a:cubicBezTo>
                  <a:cubicBezTo>
                    <a:pt x="734" y="119"/>
                    <a:pt x="733" y="115"/>
                    <a:pt x="733" y="110"/>
                  </a:cubicBezTo>
                  <a:cubicBezTo>
                    <a:pt x="733" y="106"/>
                    <a:pt x="734" y="103"/>
                    <a:pt x="738" y="100"/>
                  </a:cubicBezTo>
                  <a:cubicBezTo>
                    <a:pt x="741" y="97"/>
                    <a:pt x="746" y="96"/>
                    <a:pt x="752" y="96"/>
                  </a:cubicBezTo>
                  <a:cubicBezTo>
                    <a:pt x="758" y="96"/>
                    <a:pt x="764" y="97"/>
                    <a:pt x="770" y="98"/>
                  </a:cubicBezTo>
                  <a:cubicBezTo>
                    <a:pt x="776" y="100"/>
                    <a:pt x="781" y="103"/>
                    <a:pt x="785" y="105"/>
                  </a:cubicBezTo>
                  <a:cubicBezTo>
                    <a:pt x="787" y="106"/>
                    <a:pt x="787" y="106"/>
                    <a:pt x="787" y="106"/>
                  </a:cubicBezTo>
                  <a:cubicBezTo>
                    <a:pt x="787" y="75"/>
                    <a:pt x="787" y="75"/>
                    <a:pt x="787" y="75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2" y="73"/>
                    <a:pt x="777" y="72"/>
                    <a:pt x="771" y="71"/>
                  </a:cubicBezTo>
                  <a:cubicBezTo>
                    <a:pt x="764" y="69"/>
                    <a:pt x="759" y="69"/>
                    <a:pt x="754" y="69"/>
                  </a:cubicBezTo>
                  <a:close/>
                  <a:moveTo>
                    <a:pt x="886" y="69"/>
                  </a:moveTo>
                  <a:cubicBezTo>
                    <a:pt x="862" y="69"/>
                    <a:pt x="843" y="76"/>
                    <a:pt x="829" y="89"/>
                  </a:cubicBezTo>
                  <a:cubicBezTo>
                    <a:pt x="816" y="103"/>
                    <a:pt x="809" y="122"/>
                    <a:pt x="809" y="146"/>
                  </a:cubicBezTo>
                  <a:cubicBezTo>
                    <a:pt x="809" y="169"/>
                    <a:pt x="816" y="187"/>
                    <a:pt x="829" y="200"/>
                  </a:cubicBezTo>
                  <a:cubicBezTo>
                    <a:pt x="842" y="213"/>
                    <a:pt x="860" y="220"/>
                    <a:pt x="882" y="220"/>
                  </a:cubicBezTo>
                  <a:cubicBezTo>
                    <a:pt x="905" y="220"/>
                    <a:pt x="924" y="213"/>
                    <a:pt x="937" y="199"/>
                  </a:cubicBezTo>
                  <a:cubicBezTo>
                    <a:pt x="951" y="185"/>
                    <a:pt x="958" y="166"/>
                    <a:pt x="958" y="143"/>
                  </a:cubicBezTo>
                  <a:cubicBezTo>
                    <a:pt x="958" y="120"/>
                    <a:pt x="951" y="102"/>
                    <a:pt x="938" y="89"/>
                  </a:cubicBezTo>
                  <a:cubicBezTo>
                    <a:pt x="926" y="75"/>
                    <a:pt x="908" y="69"/>
                    <a:pt x="886" y="69"/>
                  </a:cubicBezTo>
                  <a:close/>
                  <a:moveTo>
                    <a:pt x="884" y="192"/>
                  </a:moveTo>
                  <a:cubicBezTo>
                    <a:pt x="872" y="192"/>
                    <a:pt x="862" y="188"/>
                    <a:pt x="855" y="180"/>
                  </a:cubicBezTo>
                  <a:cubicBezTo>
                    <a:pt x="848" y="172"/>
                    <a:pt x="844" y="160"/>
                    <a:pt x="844" y="145"/>
                  </a:cubicBezTo>
                  <a:cubicBezTo>
                    <a:pt x="844" y="130"/>
                    <a:pt x="848" y="118"/>
                    <a:pt x="855" y="109"/>
                  </a:cubicBezTo>
                  <a:cubicBezTo>
                    <a:pt x="862" y="101"/>
                    <a:pt x="871" y="97"/>
                    <a:pt x="884" y="97"/>
                  </a:cubicBezTo>
                  <a:cubicBezTo>
                    <a:pt x="896" y="97"/>
                    <a:pt x="905" y="101"/>
                    <a:pt x="912" y="109"/>
                  </a:cubicBezTo>
                  <a:cubicBezTo>
                    <a:pt x="919" y="117"/>
                    <a:pt x="922" y="129"/>
                    <a:pt x="922" y="144"/>
                  </a:cubicBezTo>
                  <a:cubicBezTo>
                    <a:pt x="922" y="160"/>
                    <a:pt x="919" y="172"/>
                    <a:pt x="913" y="180"/>
                  </a:cubicBezTo>
                  <a:cubicBezTo>
                    <a:pt x="906" y="188"/>
                    <a:pt x="897" y="192"/>
                    <a:pt x="884" y="192"/>
                  </a:cubicBezTo>
                  <a:close/>
                  <a:moveTo>
                    <a:pt x="1104" y="100"/>
                  </a:moveTo>
                  <a:cubicBezTo>
                    <a:pt x="1104" y="168"/>
                    <a:pt x="1104" y="168"/>
                    <a:pt x="1104" y="168"/>
                  </a:cubicBezTo>
                  <a:cubicBezTo>
                    <a:pt x="1104" y="177"/>
                    <a:pt x="1106" y="183"/>
                    <a:pt x="1109" y="187"/>
                  </a:cubicBezTo>
                  <a:cubicBezTo>
                    <a:pt x="1112" y="190"/>
                    <a:pt x="1117" y="192"/>
                    <a:pt x="1124" y="192"/>
                  </a:cubicBezTo>
                  <a:cubicBezTo>
                    <a:pt x="1125" y="192"/>
                    <a:pt x="1128" y="192"/>
                    <a:pt x="1130" y="191"/>
                  </a:cubicBezTo>
                  <a:cubicBezTo>
                    <a:pt x="1133" y="190"/>
                    <a:pt x="1135" y="189"/>
                    <a:pt x="1137" y="188"/>
                  </a:cubicBezTo>
                  <a:cubicBezTo>
                    <a:pt x="1139" y="187"/>
                    <a:pt x="1139" y="187"/>
                    <a:pt x="1139" y="187"/>
                  </a:cubicBezTo>
                  <a:cubicBezTo>
                    <a:pt x="1139" y="215"/>
                    <a:pt x="1139" y="215"/>
                    <a:pt x="1139" y="215"/>
                  </a:cubicBezTo>
                  <a:cubicBezTo>
                    <a:pt x="1138" y="215"/>
                    <a:pt x="1138" y="215"/>
                    <a:pt x="1138" y="215"/>
                  </a:cubicBezTo>
                  <a:cubicBezTo>
                    <a:pt x="1136" y="216"/>
                    <a:pt x="1133" y="217"/>
                    <a:pt x="1128" y="219"/>
                  </a:cubicBezTo>
                  <a:cubicBezTo>
                    <a:pt x="1123" y="220"/>
                    <a:pt x="1118" y="220"/>
                    <a:pt x="1113" y="220"/>
                  </a:cubicBezTo>
                  <a:cubicBezTo>
                    <a:pt x="1085" y="220"/>
                    <a:pt x="1070" y="205"/>
                    <a:pt x="1070" y="174"/>
                  </a:cubicBezTo>
                  <a:cubicBezTo>
                    <a:pt x="1070" y="100"/>
                    <a:pt x="1070" y="100"/>
                    <a:pt x="1070" y="100"/>
                  </a:cubicBezTo>
                  <a:cubicBezTo>
                    <a:pt x="1019" y="100"/>
                    <a:pt x="1019" y="100"/>
                    <a:pt x="1019" y="100"/>
                  </a:cubicBezTo>
                  <a:cubicBezTo>
                    <a:pt x="1019" y="217"/>
                    <a:pt x="1019" y="217"/>
                    <a:pt x="1019" y="217"/>
                  </a:cubicBezTo>
                  <a:cubicBezTo>
                    <a:pt x="985" y="217"/>
                    <a:pt x="985" y="217"/>
                    <a:pt x="985" y="217"/>
                  </a:cubicBezTo>
                  <a:cubicBezTo>
                    <a:pt x="985" y="100"/>
                    <a:pt x="985" y="100"/>
                    <a:pt x="985" y="100"/>
                  </a:cubicBezTo>
                  <a:cubicBezTo>
                    <a:pt x="961" y="100"/>
                    <a:pt x="961" y="100"/>
                    <a:pt x="961" y="100"/>
                  </a:cubicBezTo>
                  <a:cubicBezTo>
                    <a:pt x="961" y="72"/>
                    <a:pt x="961" y="72"/>
                    <a:pt x="961" y="72"/>
                  </a:cubicBezTo>
                  <a:cubicBezTo>
                    <a:pt x="985" y="72"/>
                    <a:pt x="985" y="72"/>
                    <a:pt x="985" y="72"/>
                  </a:cubicBezTo>
                  <a:cubicBezTo>
                    <a:pt x="985" y="52"/>
                    <a:pt x="985" y="52"/>
                    <a:pt x="985" y="52"/>
                  </a:cubicBezTo>
                  <a:cubicBezTo>
                    <a:pt x="985" y="42"/>
                    <a:pt x="987" y="33"/>
                    <a:pt x="991" y="25"/>
                  </a:cubicBezTo>
                  <a:cubicBezTo>
                    <a:pt x="996" y="17"/>
                    <a:pt x="1002" y="11"/>
                    <a:pt x="1010" y="7"/>
                  </a:cubicBezTo>
                  <a:cubicBezTo>
                    <a:pt x="1018" y="3"/>
                    <a:pt x="1027" y="0"/>
                    <a:pt x="1037" y="0"/>
                  </a:cubicBezTo>
                  <a:cubicBezTo>
                    <a:pt x="1045" y="0"/>
                    <a:pt x="1052" y="1"/>
                    <a:pt x="1056" y="3"/>
                  </a:cubicBezTo>
                  <a:cubicBezTo>
                    <a:pt x="1057" y="3"/>
                    <a:pt x="1057" y="3"/>
                    <a:pt x="1057" y="3"/>
                  </a:cubicBezTo>
                  <a:cubicBezTo>
                    <a:pt x="1057" y="32"/>
                    <a:pt x="1057" y="32"/>
                    <a:pt x="1057" y="32"/>
                  </a:cubicBezTo>
                  <a:cubicBezTo>
                    <a:pt x="1056" y="32"/>
                    <a:pt x="1056" y="32"/>
                    <a:pt x="1056" y="32"/>
                  </a:cubicBezTo>
                  <a:cubicBezTo>
                    <a:pt x="1051" y="29"/>
                    <a:pt x="1045" y="28"/>
                    <a:pt x="1041" y="28"/>
                  </a:cubicBezTo>
                  <a:cubicBezTo>
                    <a:pt x="1034" y="28"/>
                    <a:pt x="1029" y="31"/>
                    <a:pt x="1025" y="35"/>
                  </a:cubicBezTo>
                  <a:cubicBezTo>
                    <a:pt x="1021" y="39"/>
                    <a:pt x="1019" y="46"/>
                    <a:pt x="1019" y="54"/>
                  </a:cubicBezTo>
                  <a:cubicBezTo>
                    <a:pt x="1019" y="72"/>
                    <a:pt x="1019" y="72"/>
                    <a:pt x="1019" y="72"/>
                  </a:cubicBezTo>
                  <a:cubicBezTo>
                    <a:pt x="1070" y="72"/>
                    <a:pt x="1070" y="72"/>
                    <a:pt x="1070" y="72"/>
                  </a:cubicBezTo>
                  <a:cubicBezTo>
                    <a:pt x="1070" y="40"/>
                    <a:pt x="1070" y="40"/>
                    <a:pt x="1070" y="40"/>
                  </a:cubicBezTo>
                  <a:cubicBezTo>
                    <a:pt x="1071" y="39"/>
                    <a:pt x="1071" y="39"/>
                    <a:pt x="1071" y="39"/>
                  </a:cubicBezTo>
                  <a:cubicBezTo>
                    <a:pt x="1103" y="30"/>
                    <a:pt x="1103" y="30"/>
                    <a:pt x="1103" y="30"/>
                  </a:cubicBezTo>
                  <a:cubicBezTo>
                    <a:pt x="1104" y="29"/>
                    <a:pt x="1104" y="29"/>
                    <a:pt x="1104" y="29"/>
                  </a:cubicBezTo>
                  <a:cubicBezTo>
                    <a:pt x="1104" y="72"/>
                    <a:pt x="1104" y="72"/>
                    <a:pt x="1104" y="72"/>
                  </a:cubicBezTo>
                  <a:cubicBezTo>
                    <a:pt x="1139" y="72"/>
                    <a:pt x="1139" y="72"/>
                    <a:pt x="1139" y="72"/>
                  </a:cubicBezTo>
                  <a:cubicBezTo>
                    <a:pt x="1139" y="100"/>
                    <a:pt x="1139" y="100"/>
                    <a:pt x="1139" y="100"/>
                  </a:cubicBezTo>
                  <a:lnTo>
                    <a:pt x="1104" y="100"/>
                  </a:lnTo>
                  <a:close/>
                </a:path>
              </a:pathLst>
            </a:custGeom>
            <a:solidFill>
              <a:srgbClr val="737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6" name="Rectangle 28"/>
            <p:cNvSpPr>
              <a:spLocks noChangeArrowheads="1"/>
            </p:cNvSpPr>
            <p:nvPr/>
          </p:nvSpPr>
          <p:spPr bwMode="auto">
            <a:xfrm>
              <a:off x="4846638" y="3441700"/>
              <a:ext cx="600075" cy="600075"/>
            </a:xfrm>
            <a:prstGeom prst="rect">
              <a:avLst/>
            </a:prstGeom>
            <a:solidFill>
              <a:srgbClr val="F250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7" name="Rectangle 29"/>
            <p:cNvSpPr>
              <a:spLocks noChangeArrowheads="1"/>
            </p:cNvSpPr>
            <p:nvPr/>
          </p:nvSpPr>
          <p:spPr bwMode="auto">
            <a:xfrm>
              <a:off x="5510213" y="3441700"/>
              <a:ext cx="596900" cy="600075"/>
            </a:xfrm>
            <a:prstGeom prst="rect">
              <a:avLst/>
            </a:prstGeom>
            <a:solidFill>
              <a:srgbClr val="7FB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8" name="Rectangle 30"/>
            <p:cNvSpPr>
              <a:spLocks noChangeArrowheads="1"/>
            </p:cNvSpPr>
            <p:nvPr/>
          </p:nvSpPr>
          <p:spPr bwMode="auto">
            <a:xfrm>
              <a:off x="4846638" y="4102100"/>
              <a:ext cx="600075" cy="600075"/>
            </a:xfrm>
            <a:prstGeom prst="rect">
              <a:avLst/>
            </a:prstGeom>
            <a:solidFill>
              <a:srgbClr val="00A4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9" name="Rectangle 31"/>
            <p:cNvSpPr>
              <a:spLocks noChangeArrowheads="1"/>
            </p:cNvSpPr>
            <p:nvPr/>
          </p:nvSpPr>
          <p:spPr bwMode="auto">
            <a:xfrm>
              <a:off x="5510213" y="4102100"/>
              <a:ext cx="596900" cy="600075"/>
            </a:xfrm>
            <a:prstGeom prst="rect">
              <a:avLst/>
            </a:pr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22F48535-0CAE-4E7E-B849-B256AFC88B7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r"/>
            <a:fld id="{4F6BF59E-C7AB-4D2C-B602-9844A5FEE556}" type="slidenum">
              <a:rPr lang="en-IN" smtClean="0"/>
              <a:pPr algn="r"/>
              <a:t>‹#›</a:t>
            </a:fld>
            <a:endParaRPr lang="en-IN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389321EF-BECA-4AB8-875D-F92157F1C2E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IN"/>
              <a:t>Microsoft Confidential</a:t>
            </a:r>
            <a:endParaRPr lang="en-IN" sz="784"/>
          </a:p>
        </p:txBody>
      </p:sp>
    </p:spTree>
    <p:extLst>
      <p:ext uri="{BB962C8B-B14F-4D97-AF65-F5344CB8AC3E}">
        <p14:creationId xmlns:p14="http://schemas.microsoft.com/office/powerpoint/2010/main" val="294605200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con libr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445198" y="431210"/>
            <a:ext cx="2065142" cy="10861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32742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000" b="0" cap="none" spc="0" baseline="0" dirty="0" smtClean="0">
                <a:ln w="3175">
                  <a:noFill/>
                </a:ln>
                <a:gradFill>
                  <a:gsLst>
                    <a:gs pos="0">
                      <a:schemeClr val="tx1">
                        <a:lumMod val="60000"/>
                        <a:lumOff val="40000"/>
                      </a:schemeClr>
                    </a:gs>
                    <a:gs pos="100000">
                      <a:schemeClr val="tx1">
                        <a:lumMod val="60000"/>
                        <a:lumOff val="40000"/>
                      </a:schemeClr>
                    </a:gs>
                  </a:gsLst>
                  <a:lin ang="5400000" scaled="0"/>
                </a:gradFill>
                <a:effectLst/>
                <a:cs typeface="Segoe UI" pitchFamily="34" charset="0"/>
              </a:defRPr>
            </a:lvl1pPr>
          </a:lstStyle>
          <a:p>
            <a:pPr lvl="0"/>
            <a:r>
              <a:rPr lang="en-US" sz="784">
                <a:latin typeface="Segoe UI Semibold" panose="020B0702040204020203" pitchFamily="34" charset="0"/>
                <a:cs typeface="Segoe UI Semibold" panose="020B0702040204020203" pitchFamily="34" charset="0"/>
              </a:rPr>
              <a:t>Monoline icons/</a:t>
            </a:r>
            <a:r>
              <a:rPr lang="en-US" sz="784" b="0" kern="1200" cap="none" spc="0" baseline="0">
                <a:ln w="3175">
                  <a:noFill/>
                </a:ln>
                <a:gradFill>
                  <a:gsLst>
                    <a:gs pos="0">
                      <a:schemeClr val="tx1">
                        <a:lumMod val="60000"/>
                        <a:lumOff val="40000"/>
                      </a:schemeClr>
                    </a:gs>
                    <a:gs pos="100000">
                      <a:schemeClr val="tx1">
                        <a:lumMod val="60000"/>
                        <a:lumOff val="40000"/>
                      </a:schemeClr>
                    </a:gs>
                  </a:gsLst>
                  <a:lin ang="5400000" scaled="0"/>
                </a:gradFill>
                <a:effectLst/>
                <a:latin typeface="+mn-lt"/>
                <a:ea typeface="+mn-ea"/>
                <a:cs typeface="Segoe UI Semibold" panose="020B0702040204020203" pitchFamily="34" charset="0"/>
              </a:rPr>
              <a:t>PowerPoint</a:t>
            </a:r>
            <a:endParaRPr lang="en-US" sz="784">
              <a:latin typeface="+mn-lt"/>
              <a:cs typeface="Segoe UI Semibold" panose="020B0702040204020203" pitchFamily="34" charset="0"/>
            </a:endParaRPr>
          </a:p>
        </p:txBody>
      </p:sp>
      <p:grpSp>
        <p:nvGrpSpPr>
          <p:cNvPr id="4" name="Group 3"/>
          <p:cNvGrpSpPr>
            <a:grpSpLocks noChangeAspect="1"/>
          </p:cNvGrpSpPr>
          <p:nvPr userDrawn="1"/>
        </p:nvGrpSpPr>
        <p:grpSpPr>
          <a:xfrm>
            <a:off x="11023168" y="412549"/>
            <a:ext cx="719065" cy="153377"/>
            <a:chOff x="4846638" y="3441700"/>
            <a:chExt cx="5910262" cy="1260475"/>
          </a:xfrm>
        </p:grpSpPr>
        <p:sp>
          <p:nvSpPr>
            <p:cNvPr id="5" name="Freeform 27"/>
            <p:cNvSpPr>
              <a:spLocks noEditPoints="1"/>
            </p:cNvSpPr>
            <p:nvPr/>
          </p:nvSpPr>
          <p:spPr bwMode="auto">
            <a:xfrm>
              <a:off x="6484938" y="3636963"/>
              <a:ext cx="4271962" cy="823913"/>
            </a:xfrm>
            <a:custGeom>
              <a:avLst/>
              <a:gdLst>
                <a:gd name="T0" fmla="*/ 218 w 1139"/>
                <a:gd name="T1" fmla="*/ 217 h 220"/>
                <a:gd name="T2" fmla="*/ 170 w 1139"/>
                <a:gd name="T3" fmla="*/ 15 h 220"/>
                <a:gd name="T4" fmla="*/ 0 w 1139"/>
                <a:gd name="T5" fmla="*/ 15 h 220"/>
                <a:gd name="T6" fmla="*/ 33 w 1139"/>
                <a:gd name="T7" fmla="*/ 62 h 220"/>
                <a:gd name="T8" fmla="*/ 121 w 1139"/>
                <a:gd name="T9" fmla="*/ 217 h 220"/>
                <a:gd name="T10" fmla="*/ 268 w 1139"/>
                <a:gd name="T11" fmla="*/ 11 h 220"/>
                <a:gd name="T12" fmla="*/ 254 w 1139"/>
                <a:gd name="T13" fmla="*/ 44 h 220"/>
                <a:gd name="T14" fmla="*/ 289 w 1139"/>
                <a:gd name="T15" fmla="*/ 31 h 220"/>
                <a:gd name="T16" fmla="*/ 285 w 1139"/>
                <a:gd name="T17" fmla="*/ 72 h 220"/>
                <a:gd name="T18" fmla="*/ 285 w 1139"/>
                <a:gd name="T19" fmla="*/ 217 h 220"/>
                <a:gd name="T20" fmla="*/ 345 w 1139"/>
                <a:gd name="T21" fmla="*/ 79 h 220"/>
                <a:gd name="T22" fmla="*/ 318 w 1139"/>
                <a:gd name="T23" fmla="*/ 185 h 220"/>
                <a:gd name="T24" fmla="*/ 421 w 1139"/>
                <a:gd name="T25" fmla="*/ 211 h 220"/>
                <a:gd name="T26" fmla="*/ 420 w 1139"/>
                <a:gd name="T27" fmla="*/ 180 h 220"/>
                <a:gd name="T28" fmla="*/ 356 w 1139"/>
                <a:gd name="T29" fmla="*/ 180 h 220"/>
                <a:gd name="T30" fmla="*/ 388 w 1139"/>
                <a:gd name="T31" fmla="*/ 97 h 220"/>
                <a:gd name="T32" fmla="*/ 422 w 1139"/>
                <a:gd name="T33" fmla="*/ 76 h 220"/>
                <a:gd name="T34" fmla="*/ 386 w 1139"/>
                <a:gd name="T35" fmla="*/ 69 h 220"/>
                <a:gd name="T36" fmla="*/ 447 w 1139"/>
                <a:gd name="T37" fmla="*/ 72 h 220"/>
                <a:gd name="T38" fmla="*/ 481 w 1139"/>
                <a:gd name="T39" fmla="*/ 143 h 220"/>
                <a:gd name="T40" fmla="*/ 522 w 1139"/>
                <a:gd name="T41" fmla="*/ 102 h 220"/>
                <a:gd name="T42" fmla="*/ 531 w 1139"/>
                <a:gd name="T43" fmla="*/ 72 h 220"/>
                <a:gd name="T44" fmla="*/ 517 w 1139"/>
                <a:gd name="T45" fmla="*/ 70 h 220"/>
                <a:gd name="T46" fmla="*/ 481 w 1139"/>
                <a:gd name="T47" fmla="*/ 97 h 220"/>
                <a:gd name="T48" fmla="*/ 534 w 1139"/>
                <a:gd name="T49" fmla="*/ 146 h 220"/>
                <a:gd name="T50" fmla="*/ 662 w 1139"/>
                <a:gd name="T51" fmla="*/ 199 h 220"/>
                <a:gd name="T52" fmla="*/ 610 w 1139"/>
                <a:gd name="T53" fmla="*/ 69 h 220"/>
                <a:gd name="T54" fmla="*/ 569 w 1139"/>
                <a:gd name="T55" fmla="*/ 145 h 220"/>
                <a:gd name="T56" fmla="*/ 636 w 1139"/>
                <a:gd name="T57" fmla="*/ 109 h 220"/>
                <a:gd name="T58" fmla="*/ 609 w 1139"/>
                <a:gd name="T59" fmla="*/ 192 h 220"/>
                <a:gd name="T60" fmla="*/ 698 w 1139"/>
                <a:gd name="T61" fmla="*/ 113 h 220"/>
                <a:gd name="T62" fmla="*/ 733 w 1139"/>
                <a:gd name="T63" fmla="*/ 156 h 220"/>
                <a:gd name="T64" fmla="*/ 760 w 1139"/>
                <a:gd name="T65" fmla="*/ 179 h 220"/>
                <a:gd name="T66" fmla="*/ 700 w 1139"/>
                <a:gd name="T67" fmla="*/ 180 h 220"/>
                <a:gd name="T68" fmla="*/ 699 w 1139"/>
                <a:gd name="T69" fmla="*/ 212 h 220"/>
                <a:gd name="T70" fmla="*/ 779 w 1139"/>
                <a:gd name="T71" fmla="*/ 208 h 220"/>
                <a:gd name="T72" fmla="*/ 757 w 1139"/>
                <a:gd name="T73" fmla="*/ 132 h 220"/>
                <a:gd name="T74" fmla="*/ 738 w 1139"/>
                <a:gd name="T75" fmla="*/ 100 h 220"/>
                <a:gd name="T76" fmla="*/ 785 w 1139"/>
                <a:gd name="T77" fmla="*/ 105 h 220"/>
                <a:gd name="T78" fmla="*/ 786 w 1139"/>
                <a:gd name="T79" fmla="*/ 75 h 220"/>
                <a:gd name="T80" fmla="*/ 886 w 1139"/>
                <a:gd name="T81" fmla="*/ 69 h 220"/>
                <a:gd name="T82" fmla="*/ 829 w 1139"/>
                <a:gd name="T83" fmla="*/ 200 h 220"/>
                <a:gd name="T84" fmla="*/ 958 w 1139"/>
                <a:gd name="T85" fmla="*/ 143 h 220"/>
                <a:gd name="T86" fmla="*/ 884 w 1139"/>
                <a:gd name="T87" fmla="*/ 192 h 220"/>
                <a:gd name="T88" fmla="*/ 855 w 1139"/>
                <a:gd name="T89" fmla="*/ 109 h 220"/>
                <a:gd name="T90" fmla="*/ 922 w 1139"/>
                <a:gd name="T91" fmla="*/ 144 h 220"/>
                <a:gd name="T92" fmla="*/ 1104 w 1139"/>
                <a:gd name="T93" fmla="*/ 100 h 220"/>
                <a:gd name="T94" fmla="*/ 1124 w 1139"/>
                <a:gd name="T95" fmla="*/ 192 h 220"/>
                <a:gd name="T96" fmla="*/ 1139 w 1139"/>
                <a:gd name="T97" fmla="*/ 187 h 220"/>
                <a:gd name="T98" fmla="*/ 1128 w 1139"/>
                <a:gd name="T99" fmla="*/ 219 h 220"/>
                <a:gd name="T100" fmla="*/ 1070 w 1139"/>
                <a:gd name="T101" fmla="*/ 100 h 220"/>
                <a:gd name="T102" fmla="*/ 985 w 1139"/>
                <a:gd name="T103" fmla="*/ 217 h 220"/>
                <a:gd name="T104" fmla="*/ 961 w 1139"/>
                <a:gd name="T105" fmla="*/ 72 h 220"/>
                <a:gd name="T106" fmla="*/ 991 w 1139"/>
                <a:gd name="T107" fmla="*/ 25 h 220"/>
                <a:gd name="T108" fmla="*/ 1056 w 1139"/>
                <a:gd name="T109" fmla="*/ 3 h 220"/>
                <a:gd name="T110" fmla="*/ 1056 w 1139"/>
                <a:gd name="T111" fmla="*/ 32 h 220"/>
                <a:gd name="T112" fmla="*/ 1019 w 1139"/>
                <a:gd name="T113" fmla="*/ 54 h 220"/>
                <a:gd name="T114" fmla="*/ 1070 w 1139"/>
                <a:gd name="T115" fmla="*/ 40 h 220"/>
                <a:gd name="T116" fmla="*/ 1104 w 1139"/>
                <a:gd name="T117" fmla="*/ 29 h 220"/>
                <a:gd name="T118" fmla="*/ 1139 w 1139"/>
                <a:gd name="T119" fmla="*/ 10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139" h="220">
                  <a:moveTo>
                    <a:pt x="184" y="62"/>
                  </a:moveTo>
                  <a:cubicBezTo>
                    <a:pt x="184" y="217"/>
                    <a:pt x="184" y="217"/>
                    <a:pt x="184" y="217"/>
                  </a:cubicBezTo>
                  <a:cubicBezTo>
                    <a:pt x="218" y="217"/>
                    <a:pt x="218" y="217"/>
                    <a:pt x="218" y="217"/>
                  </a:cubicBezTo>
                  <a:cubicBezTo>
                    <a:pt x="218" y="15"/>
                    <a:pt x="218" y="15"/>
                    <a:pt x="218" y="15"/>
                  </a:cubicBezTo>
                  <a:cubicBezTo>
                    <a:pt x="218" y="15"/>
                    <a:pt x="218" y="15"/>
                    <a:pt x="218" y="15"/>
                  </a:cubicBezTo>
                  <a:cubicBezTo>
                    <a:pt x="170" y="15"/>
                    <a:pt x="170" y="15"/>
                    <a:pt x="170" y="15"/>
                  </a:cubicBezTo>
                  <a:cubicBezTo>
                    <a:pt x="109" y="165"/>
                    <a:pt x="109" y="165"/>
                    <a:pt x="109" y="16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33" y="217"/>
                    <a:pt x="33" y="217"/>
                    <a:pt x="33" y="217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96" y="217"/>
                    <a:pt x="96" y="217"/>
                    <a:pt x="96" y="217"/>
                  </a:cubicBezTo>
                  <a:cubicBezTo>
                    <a:pt x="121" y="217"/>
                    <a:pt x="121" y="217"/>
                    <a:pt x="121" y="217"/>
                  </a:cubicBezTo>
                  <a:cubicBezTo>
                    <a:pt x="183" y="62"/>
                    <a:pt x="183" y="62"/>
                    <a:pt x="183" y="62"/>
                  </a:cubicBezTo>
                  <a:lnTo>
                    <a:pt x="184" y="62"/>
                  </a:lnTo>
                  <a:close/>
                  <a:moveTo>
                    <a:pt x="268" y="11"/>
                  </a:moveTo>
                  <a:cubicBezTo>
                    <a:pt x="263" y="11"/>
                    <a:pt x="258" y="13"/>
                    <a:pt x="254" y="16"/>
                  </a:cubicBezTo>
                  <a:cubicBezTo>
                    <a:pt x="250" y="20"/>
                    <a:pt x="248" y="25"/>
                    <a:pt x="248" y="31"/>
                  </a:cubicBezTo>
                  <a:cubicBezTo>
                    <a:pt x="248" y="36"/>
                    <a:pt x="250" y="41"/>
                    <a:pt x="254" y="44"/>
                  </a:cubicBezTo>
                  <a:cubicBezTo>
                    <a:pt x="258" y="48"/>
                    <a:pt x="263" y="50"/>
                    <a:pt x="268" y="50"/>
                  </a:cubicBezTo>
                  <a:cubicBezTo>
                    <a:pt x="274" y="50"/>
                    <a:pt x="279" y="48"/>
                    <a:pt x="283" y="44"/>
                  </a:cubicBezTo>
                  <a:cubicBezTo>
                    <a:pt x="287" y="41"/>
                    <a:pt x="289" y="36"/>
                    <a:pt x="289" y="31"/>
                  </a:cubicBezTo>
                  <a:cubicBezTo>
                    <a:pt x="289" y="25"/>
                    <a:pt x="287" y="20"/>
                    <a:pt x="283" y="17"/>
                  </a:cubicBezTo>
                  <a:cubicBezTo>
                    <a:pt x="279" y="13"/>
                    <a:pt x="274" y="11"/>
                    <a:pt x="268" y="11"/>
                  </a:cubicBezTo>
                  <a:close/>
                  <a:moveTo>
                    <a:pt x="285" y="72"/>
                  </a:moveTo>
                  <a:cubicBezTo>
                    <a:pt x="251" y="72"/>
                    <a:pt x="251" y="72"/>
                    <a:pt x="251" y="72"/>
                  </a:cubicBezTo>
                  <a:cubicBezTo>
                    <a:pt x="251" y="217"/>
                    <a:pt x="251" y="217"/>
                    <a:pt x="251" y="217"/>
                  </a:cubicBezTo>
                  <a:cubicBezTo>
                    <a:pt x="285" y="217"/>
                    <a:pt x="285" y="217"/>
                    <a:pt x="285" y="217"/>
                  </a:cubicBezTo>
                  <a:cubicBezTo>
                    <a:pt x="285" y="72"/>
                    <a:pt x="285" y="72"/>
                    <a:pt x="285" y="72"/>
                  </a:cubicBezTo>
                  <a:close/>
                  <a:moveTo>
                    <a:pt x="386" y="69"/>
                  </a:moveTo>
                  <a:cubicBezTo>
                    <a:pt x="371" y="69"/>
                    <a:pt x="357" y="72"/>
                    <a:pt x="345" y="79"/>
                  </a:cubicBezTo>
                  <a:cubicBezTo>
                    <a:pt x="333" y="85"/>
                    <a:pt x="324" y="95"/>
                    <a:pt x="318" y="107"/>
                  </a:cubicBezTo>
                  <a:cubicBezTo>
                    <a:pt x="312" y="119"/>
                    <a:pt x="309" y="133"/>
                    <a:pt x="309" y="148"/>
                  </a:cubicBezTo>
                  <a:cubicBezTo>
                    <a:pt x="309" y="162"/>
                    <a:pt x="312" y="174"/>
                    <a:pt x="318" y="185"/>
                  </a:cubicBezTo>
                  <a:cubicBezTo>
                    <a:pt x="324" y="196"/>
                    <a:pt x="332" y="205"/>
                    <a:pt x="343" y="211"/>
                  </a:cubicBezTo>
                  <a:cubicBezTo>
                    <a:pt x="354" y="217"/>
                    <a:pt x="366" y="220"/>
                    <a:pt x="380" y="220"/>
                  </a:cubicBezTo>
                  <a:cubicBezTo>
                    <a:pt x="396" y="220"/>
                    <a:pt x="410" y="217"/>
                    <a:pt x="421" y="211"/>
                  </a:cubicBezTo>
                  <a:cubicBezTo>
                    <a:pt x="422" y="210"/>
                    <a:pt x="422" y="210"/>
                    <a:pt x="422" y="210"/>
                  </a:cubicBezTo>
                  <a:cubicBezTo>
                    <a:pt x="422" y="179"/>
                    <a:pt x="422" y="179"/>
                    <a:pt x="422" y="179"/>
                  </a:cubicBezTo>
                  <a:cubicBezTo>
                    <a:pt x="420" y="180"/>
                    <a:pt x="420" y="180"/>
                    <a:pt x="420" y="180"/>
                  </a:cubicBezTo>
                  <a:cubicBezTo>
                    <a:pt x="415" y="184"/>
                    <a:pt x="410" y="187"/>
                    <a:pt x="404" y="189"/>
                  </a:cubicBezTo>
                  <a:cubicBezTo>
                    <a:pt x="398" y="191"/>
                    <a:pt x="392" y="192"/>
                    <a:pt x="387" y="192"/>
                  </a:cubicBezTo>
                  <a:cubicBezTo>
                    <a:pt x="374" y="192"/>
                    <a:pt x="363" y="188"/>
                    <a:pt x="356" y="180"/>
                  </a:cubicBezTo>
                  <a:cubicBezTo>
                    <a:pt x="348" y="171"/>
                    <a:pt x="344" y="160"/>
                    <a:pt x="344" y="145"/>
                  </a:cubicBezTo>
                  <a:cubicBezTo>
                    <a:pt x="344" y="131"/>
                    <a:pt x="348" y="119"/>
                    <a:pt x="356" y="110"/>
                  </a:cubicBezTo>
                  <a:cubicBezTo>
                    <a:pt x="364" y="101"/>
                    <a:pt x="375" y="97"/>
                    <a:pt x="388" y="97"/>
                  </a:cubicBezTo>
                  <a:cubicBezTo>
                    <a:pt x="399" y="97"/>
                    <a:pt x="410" y="101"/>
                    <a:pt x="420" y="108"/>
                  </a:cubicBezTo>
                  <a:cubicBezTo>
                    <a:pt x="422" y="109"/>
                    <a:pt x="422" y="109"/>
                    <a:pt x="422" y="109"/>
                  </a:cubicBezTo>
                  <a:cubicBezTo>
                    <a:pt x="422" y="76"/>
                    <a:pt x="422" y="76"/>
                    <a:pt x="422" y="76"/>
                  </a:cubicBezTo>
                  <a:cubicBezTo>
                    <a:pt x="421" y="76"/>
                    <a:pt x="421" y="76"/>
                    <a:pt x="421" y="76"/>
                  </a:cubicBezTo>
                  <a:cubicBezTo>
                    <a:pt x="417" y="74"/>
                    <a:pt x="412" y="72"/>
                    <a:pt x="405" y="71"/>
                  </a:cubicBezTo>
                  <a:cubicBezTo>
                    <a:pt x="399" y="69"/>
                    <a:pt x="393" y="69"/>
                    <a:pt x="386" y="69"/>
                  </a:cubicBezTo>
                  <a:close/>
                  <a:moveTo>
                    <a:pt x="481" y="97"/>
                  </a:moveTo>
                  <a:cubicBezTo>
                    <a:pt x="481" y="72"/>
                    <a:pt x="481" y="72"/>
                    <a:pt x="481" y="72"/>
                  </a:cubicBezTo>
                  <a:cubicBezTo>
                    <a:pt x="447" y="72"/>
                    <a:pt x="447" y="72"/>
                    <a:pt x="447" y="72"/>
                  </a:cubicBezTo>
                  <a:cubicBezTo>
                    <a:pt x="447" y="217"/>
                    <a:pt x="447" y="217"/>
                    <a:pt x="447" y="217"/>
                  </a:cubicBezTo>
                  <a:cubicBezTo>
                    <a:pt x="481" y="217"/>
                    <a:pt x="481" y="217"/>
                    <a:pt x="481" y="217"/>
                  </a:cubicBezTo>
                  <a:cubicBezTo>
                    <a:pt x="481" y="143"/>
                    <a:pt x="481" y="143"/>
                    <a:pt x="481" y="143"/>
                  </a:cubicBezTo>
                  <a:cubicBezTo>
                    <a:pt x="481" y="130"/>
                    <a:pt x="484" y="120"/>
                    <a:pt x="490" y="112"/>
                  </a:cubicBezTo>
                  <a:cubicBezTo>
                    <a:pt x="495" y="104"/>
                    <a:pt x="503" y="100"/>
                    <a:pt x="512" y="100"/>
                  </a:cubicBezTo>
                  <a:cubicBezTo>
                    <a:pt x="515" y="100"/>
                    <a:pt x="518" y="101"/>
                    <a:pt x="522" y="102"/>
                  </a:cubicBezTo>
                  <a:cubicBezTo>
                    <a:pt x="526" y="103"/>
                    <a:pt x="528" y="104"/>
                    <a:pt x="530" y="105"/>
                  </a:cubicBezTo>
                  <a:cubicBezTo>
                    <a:pt x="531" y="106"/>
                    <a:pt x="531" y="106"/>
                    <a:pt x="531" y="106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28" y="70"/>
                    <a:pt x="523" y="70"/>
                    <a:pt x="517" y="70"/>
                  </a:cubicBezTo>
                  <a:cubicBezTo>
                    <a:pt x="517" y="70"/>
                    <a:pt x="517" y="70"/>
                    <a:pt x="517" y="70"/>
                  </a:cubicBezTo>
                  <a:cubicBezTo>
                    <a:pt x="509" y="70"/>
                    <a:pt x="501" y="72"/>
                    <a:pt x="495" y="78"/>
                  </a:cubicBezTo>
                  <a:cubicBezTo>
                    <a:pt x="489" y="83"/>
                    <a:pt x="485" y="89"/>
                    <a:pt x="482" y="97"/>
                  </a:cubicBezTo>
                  <a:lnTo>
                    <a:pt x="481" y="97"/>
                  </a:lnTo>
                  <a:close/>
                  <a:moveTo>
                    <a:pt x="610" y="69"/>
                  </a:moveTo>
                  <a:cubicBezTo>
                    <a:pt x="586" y="69"/>
                    <a:pt x="567" y="76"/>
                    <a:pt x="554" y="89"/>
                  </a:cubicBezTo>
                  <a:cubicBezTo>
                    <a:pt x="540" y="103"/>
                    <a:pt x="534" y="122"/>
                    <a:pt x="534" y="146"/>
                  </a:cubicBezTo>
                  <a:cubicBezTo>
                    <a:pt x="534" y="169"/>
                    <a:pt x="540" y="187"/>
                    <a:pt x="553" y="200"/>
                  </a:cubicBezTo>
                  <a:cubicBezTo>
                    <a:pt x="567" y="213"/>
                    <a:pt x="584" y="220"/>
                    <a:pt x="607" y="220"/>
                  </a:cubicBezTo>
                  <a:cubicBezTo>
                    <a:pt x="630" y="220"/>
                    <a:pt x="648" y="213"/>
                    <a:pt x="662" y="199"/>
                  </a:cubicBezTo>
                  <a:cubicBezTo>
                    <a:pt x="675" y="185"/>
                    <a:pt x="682" y="166"/>
                    <a:pt x="682" y="143"/>
                  </a:cubicBezTo>
                  <a:cubicBezTo>
                    <a:pt x="682" y="120"/>
                    <a:pt x="676" y="102"/>
                    <a:pt x="663" y="89"/>
                  </a:cubicBezTo>
                  <a:cubicBezTo>
                    <a:pt x="650" y="75"/>
                    <a:pt x="632" y="69"/>
                    <a:pt x="610" y="69"/>
                  </a:cubicBezTo>
                  <a:close/>
                  <a:moveTo>
                    <a:pt x="609" y="192"/>
                  </a:moveTo>
                  <a:cubicBezTo>
                    <a:pt x="596" y="192"/>
                    <a:pt x="586" y="188"/>
                    <a:pt x="579" y="180"/>
                  </a:cubicBezTo>
                  <a:cubicBezTo>
                    <a:pt x="572" y="172"/>
                    <a:pt x="569" y="160"/>
                    <a:pt x="569" y="145"/>
                  </a:cubicBezTo>
                  <a:cubicBezTo>
                    <a:pt x="569" y="130"/>
                    <a:pt x="572" y="118"/>
                    <a:pt x="579" y="109"/>
                  </a:cubicBezTo>
                  <a:cubicBezTo>
                    <a:pt x="586" y="101"/>
                    <a:pt x="596" y="97"/>
                    <a:pt x="608" y="97"/>
                  </a:cubicBezTo>
                  <a:cubicBezTo>
                    <a:pt x="620" y="97"/>
                    <a:pt x="630" y="101"/>
                    <a:pt x="636" y="109"/>
                  </a:cubicBezTo>
                  <a:cubicBezTo>
                    <a:pt x="643" y="117"/>
                    <a:pt x="647" y="129"/>
                    <a:pt x="647" y="144"/>
                  </a:cubicBezTo>
                  <a:cubicBezTo>
                    <a:pt x="647" y="160"/>
                    <a:pt x="644" y="172"/>
                    <a:pt x="637" y="180"/>
                  </a:cubicBezTo>
                  <a:cubicBezTo>
                    <a:pt x="631" y="188"/>
                    <a:pt x="621" y="192"/>
                    <a:pt x="609" y="192"/>
                  </a:cubicBezTo>
                  <a:close/>
                  <a:moveTo>
                    <a:pt x="754" y="69"/>
                  </a:moveTo>
                  <a:cubicBezTo>
                    <a:pt x="737" y="69"/>
                    <a:pt x="724" y="73"/>
                    <a:pt x="714" y="81"/>
                  </a:cubicBezTo>
                  <a:cubicBezTo>
                    <a:pt x="703" y="89"/>
                    <a:pt x="698" y="100"/>
                    <a:pt x="698" y="113"/>
                  </a:cubicBezTo>
                  <a:cubicBezTo>
                    <a:pt x="698" y="120"/>
                    <a:pt x="699" y="126"/>
                    <a:pt x="702" y="131"/>
                  </a:cubicBezTo>
                  <a:cubicBezTo>
                    <a:pt x="704" y="136"/>
                    <a:pt x="707" y="141"/>
                    <a:pt x="712" y="144"/>
                  </a:cubicBezTo>
                  <a:cubicBezTo>
                    <a:pt x="716" y="148"/>
                    <a:pt x="723" y="152"/>
                    <a:pt x="733" y="156"/>
                  </a:cubicBezTo>
                  <a:cubicBezTo>
                    <a:pt x="741" y="159"/>
                    <a:pt x="746" y="162"/>
                    <a:pt x="750" y="164"/>
                  </a:cubicBezTo>
                  <a:cubicBezTo>
                    <a:pt x="754" y="166"/>
                    <a:pt x="756" y="168"/>
                    <a:pt x="758" y="171"/>
                  </a:cubicBezTo>
                  <a:cubicBezTo>
                    <a:pt x="759" y="173"/>
                    <a:pt x="760" y="175"/>
                    <a:pt x="760" y="179"/>
                  </a:cubicBezTo>
                  <a:cubicBezTo>
                    <a:pt x="760" y="188"/>
                    <a:pt x="753" y="193"/>
                    <a:pt x="738" y="193"/>
                  </a:cubicBezTo>
                  <a:cubicBezTo>
                    <a:pt x="732" y="193"/>
                    <a:pt x="726" y="192"/>
                    <a:pt x="719" y="190"/>
                  </a:cubicBezTo>
                  <a:cubicBezTo>
                    <a:pt x="712" y="187"/>
                    <a:pt x="705" y="184"/>
                    <a:pt x="700" y="180"/>
                  </a:cubicBezTo>
                  <a:cubicBezTo>
                    <a:pt x="698" y="179"/>
                    <a:pt x="698" y="179"/>
                    <a:pt x="698" y="179"/>
                  </a:cubicBezTo>
                  <a:cubicBezTo>
                    <a:pt x="698" y="212"/>
                    <a:pt x="698" y="212"/>
                    <a:pt x="698" y="212"/>
                  </a:cubicBezTo>
                  <a:cubicBezTo>
                    <a:pt x="699" y="212"/>
                    <a:pt x="699" y="212"/>
                    <a:pt x="699" y="212"/>
                  </a:cubicBezTo>
                  <a:cubicBezTo>
                    <a:pt x="704" y="215"/>
                    <a:pt x="710" y="216"/>
                    <a:pt x="717" y="218"/>
                  </a:cubicBezTo>
                  <a:cubicBezTo>
                    <a:pt x="724" y="219"/>
                    <a:pt x="731" y="220"/>
                    <a:pt x="736" y="220"/>
                  </a:cubicBezTo>
                  <a:cubicBezTo>
                    <a:pt x="754" y="220"/>
                    <a:pt x="768" y="216"/>
                    <a:pt x="779" y="208"/>
                  </a:cubicBezTo>
                  <a:cubicBezTo>
                    <a:pt x="789" y="200"/>
                    <a:pt x="794" y="188"/>
                    <a:pt x="794" y="175"/>
                  </a:cubicBezTo>
                  <a:cubicBezTo>
                    <a:pt x="794" y="165"/>
                    <a:pt x="791" y="157"/>
                    <a:pt x="786" y="150"/>
                  </a:cubicBezTo>
                  <a:cubicBezTo>
                    <a:pt x="780" y="143"/>
                    <a:pt x="771" y="137"/>
                    <a:pt x="757" y="132"/>
                  </a:cubicBezTo>
                  <a:cubicBezTo>
                    <a:pt x="746" y="128"/>
                    <a:pt x="740" y="124"/>
                    <a:pt x="737" y="121"/>
                  </a:cubicBezTo>
                  <a:cubicBezTo>
                    <a:pt x="734" y="119"/>
                    <a:pt x="733" y="115"/>
                    <a:pt x="733" y="110"/>
                  </a:cubicBezTo>
                  <a:cubicBezTo>
                    <a:pt x="733" y="106"/>
                    <a:pt x="734" y="103"/>
                    <a:pt x="738" y="100"/>
                  </a:cubicBezTo>
                  <a:cubicBezTo>
                    <a:pt x="741" y="97"/>
                    <a:pt x="746" y="96"/>
                    <a:pt x="752" y="96"/>
                  </a:cubicBezTo>
                  <a:cubicBezTo>
                    <a:pt x="758" y="96"/>
                    <a:pt x="764" y="97"/>
                    <a:pt x="770" y="98"/>
                  </a:cubicBezTo>
                  <a:cubicBezTo>
                    <a:pt x="776" y="100"/>
                    <a:pt x="781" y="103"/>
                    <a:pt x="785" y="105"/>
                  </a:cubicBezTo>
                  <a:cubicBezTo>
                    <a:pt x="787" y="106"/>
                    <a:pt x="787" y="106"/>
                    <a:pt x="787" y="106"/>
                  </a:cubicBezTo>
                  <a:cubicBezTo>
                    <a:pt x="787" y="75"/>
                    <a:pt x="787" y="75"/>
                    <a:pt x="787" y="75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2" y="73"/>
                    <a:pt x="777" y="72"/>
                    <a:pt x="771" y="71"/>
                  </a:cubicBezTo>
                  <a:cubicBezTo>
                    <a:pt x="764" y="69"/>
                    <a:pt x="759" y="69"/>
                    <a:pt x="754" y="69"/>
                  </a:cubicBezTo>
                  <a:close/>
                  <a:moveTo>
                    <a:pt x="886" y="69"/>
                  </a:moveTo>
                  <a:cubicBezTo>
                    <a:pt x="862" y="69"/>
                    <a:pt x="843" y="76"/>
                    <a:pt x="829" y="89"/>
                  </a:cubicBezTo>
                  <a:cubicBezTo>
                    <a:pt x="816" y="103"/>
                    <a:pt x="809" y="122"/>
                    <a:pt x="809" y="146"/>
                  </a:cubicBezTo>
                  <a:cubicBezTo>
                    <a:pt x="809" y="169"/>
                    <a:pt x="816" y="187"/>
                    <a:pt x="829" y="200"/>
                  </a:cubicBezTo>
                  <a:cubicBezTo>
                    <a:pt x="842" y="213"/>
                    <a:pt x="860" y="220"/>
                    <a:pt x="882" y="220"/>
                  </a:cubicBezTo>
                  <a:cubicBezTo>
                    <a:pt x="905" y="220"/>
                    <a:pt x="924" y="213"/>
                    <a:pt x="937" y="199"/>
                  </a:cubicBezTo>
                  <a:cubicBezTo>
                    <a:pt x="951" y="185"/>
                    <a:pt x="958" y="166"/>
                    <a:pt x="958" y="143"/>
                  </a:cubicBezTo>
                  <a:cubicBezTo>
                    <a:pt x="958" y="120"/>
                    <a:pt x="951" y="102"/>
                    <a:pt x="938" y="89"/>
                  </a:cubicBezTo>
                  <a:cubicBezTo>
                    <a:pt x="926" y="75"/>
                    <a:pt x="908" y="69"/>
                    <a:pt x="886" y="69"/>
                  </a:cubicBezTo>
                  <a:close/>
                  <a:moveTo>
                    <a:pt x="884" y="192"/>
                  </a:moveTo>
                  <a:cubicBezTo>
                    <a:pt x="872" y="192"/>
                    <a:pt x="862" y="188"/>
                    <a:pt x="855" y="180"/>
                  </a:cubicBezTo>
                  <a:cubicBezTo>
                    <a:pt x="848" y="172"/>
                    <a:pt x="844" y="160"/>
                    <a:pt x="844" y="145"/>
                  </a:cubicBezTo>
                  <a:cubicBezTo>
                    <a:pt x="844" y="130"/>
                    <a:pt x="848" y="118"/>
                    <a:pt x="855" y="109"/>
                  </a:cubicBezTo>
                  <a:cubicBezTo>
                    <a:pt x="862" y="101"/>
                    <a:pt x="871" y="97"/>
                    <a:pt x="884" y="97"/>
                  </a:cubicBezTo>
                  <a:cubicBezTo>
                    <a:pt x="896" y="97"/>
                    <a:pt x="905" y="101"/>
                    <a:pt x="912" y="109"/>
                  </a:cubicBezTo>
                  <a:cubicBezTo>
                    <a:pt x="919" y="117"/>
                    <a:pt x="922" y="129"/>
                    <a:pt x="922" y="144"/>
                  </a:cubicBezTo>
                  <a:cubicBezTo>
                    <a:pt x="922" y="160"/>
                    <a:pt x="919" y="172"/>
                    <a:pt x="913" y="180"/>
                  </a:cubicBezTo>
                  <a:cubicBezTo>
                    <a:pt x="906" y="188"/>
                    <a:pt x="897" y="192"/>
                    <a:pt x="884" y="192"/>
                  </a:cubicBezTo>
                  <a:close/>
                  <a:moveTo>
                    <a:pt x="1104" y="100"/>
                  </a:moveTo>
                  <a:cubicBezTo>
                    <a:pt x="1104" y="168"/>
                    <a:pt x="1104" y="168"/>
                    <a:pt x="1104" y="168"/>
                  </a:cubicBezTo>
                  <a:cubicBezTo>
                    <a:pt x="1104" y="177"/>
                    <a:pt x="1106" y="183"/>
                    <a:pt x="1109" y="187"/>
                  </a:cubicBezTo>
                  <a:cubicBezTo>
                    <a:pt x="1112" y="190"/>
                    <a:pt x="1117" y="192"/>
                    <a:pt x="1124" y="192"/>
                  </a:cubicBezTo>
                  <a:cubicBezTo>
                    <a:pt x="1125" y="192"/>
                    <a:pt x="1128" y="192"/>
                    <a:pt x="1130" y="191"/>
                  </a:cubicBezTo>
                  <a:cubicBezTo>
                    <a:pt x="1133" y="190"/>
                    <a:pt x="1135" y="189"/>
                    <a:pt x="1137" y="188"/>
                  </a:cubicBezTo>
                  <a:cubicBezTo>
                    <a:pt x="1139" y="187"/>
                    <a:pt x="1139" y="187"/>
                    <a:pt x="1139" y="187"/>
                  </a:cubicBezTo>
                  <a:cubicBezTo>
                    <a:pt x="1139" y="215"/>
                    <a:pt x="1139" y="215"/>
                    <a:pt x="1139" y="215"/>
                  </a:cubicBezTo>
                  <a:cubicBezTo>
                    <a:pt x="1138" y="215"/>
                    <a:pt x="1138" y="215"/>
                    <a:pt x="1138" y="215"/>
                  </a:cubicBezTo>
                  <a:cubicBezTo>
                    <a:pt x="1136" y="216"/>
                    <a:pt x="1133" y="217"/>
                    <a:pt x="1128" y="219"/>
                  </a:cubicBezTo>
                  <a:cubicBezTo>
                    <a:pt x="1123" y="220"/>
                    <a:pt x="1118" y="220"/>
                    <a:pt x="1113" y="220"/>
                  </a:cubicBezTo>
                  <a:cubicBezTo>
                    <a:pt x="1085" y="220"/>
                    <a:pt x="1070" y="205"/>
                    <a:pt x="1070" y="174"/>
                  </a:cubicBezTo>
                  <a:cubicBezTo>
                    <a:pt x="1070" y="100"/>
                    <a:pt x="1070" y="100"/>
                    <a:pt x="1070" y="100"/>
                  </a:cubicBezTo>
                  <a:cubicBezTo>
                    <a:pt x="1019" y="100"/>
                    <a:pt x="1019" y="100"/>
                    <a:pt x="1019" y="100"/>
                  </a:cubicBezTo>
                  <a:cubicBezTo>
                    <a:pt x="1019" y="217"/>
                    <a:pt x="1019" y="217"/>
                    <a:pt x="1019" y="217"/>
                  </a:cubicBezTo>
                  <a:cubicBezTo>
                    <a:pt x="985" y="217"/>
                    <a:pt x="985" y="217"/>
                    <a:pt x="985" y="217"/>
                  </a:cubicBezTo>
                  <a:cubicBezTo>
                    <a:pt x="985" y="100"/>
                    <a:pt x="985" y="100"/>
                    <a:pt x="985" y="100"/>
                  </a:cubicBezTo>
                  <a:cubicBezTo>
                    <a:pt x="961" y="100"/>
                    <a:pt x="961" y="100"/>
                    <a:pt x="961" y="100"/>
                  </a:cubicBezTo>
                  <a:cubicBezTo>
                    <a:pt x="961" y="72"/>
                    <a:pt x="961" y="72"/>
                    <a:pt x="961" y="72"/>
                  </a:cubicBezTo>
                  <a:cubicBezTo>
                    <a:pt x="985" y="72"/>
                    <a:pt x="985" y="72"/>
                    <a:pt x="985" y="72"/>
                  </a:cubicBezTo>
                  <a:cubicBezTo>
                    <a:pt x="985" y="52"/>
                    <a:pt x="985" y="52"/>
                    <a:pt x="985" y="52"/>
                  </a:cubicBezTo>
                  <a:cubicBezTo>
                    <a:pt x="985" y="42"/>
                    <a:pt x="987" y="33"/>
                    <a:pt x="991" y="25"/>
                  </a:cubicBezTo>
                  <a:cubicBezTo>
                    <a:pt x="996" y="17"/>
                    <a:pt x="1002" y="11"/>
                    <a:pt x="1010" y="7"/>
                  </a:cubicBezTo>
                  <a:cubicBezTo>
                    <a:pt x="1018" y="3"/>
                    <a:pt x="1027" y="0"/>
                    <a:pt x="1037" y="0"/>
                  </a:cubicBezTo>
                  <a:cubicBezTo>
                    <a:pt x="1045" y="0"/>
                    <a:pt x="1052" y="1"/>
                    <a:pt x="1056" y="3"/>
                  </a:cubicBezTo>
                  <a:cubicBezTo>
                    <a:pt x="1057" y="3"/>
                    <a:pt x="1057" y="3"/>
                    <a:pt x="1057" y="3"/>
                  </a:cubicBezTo>
                  <a:cubicBezTo>
                    <a:pt x="1057" y="32"/>
                    <a:pt x="1057" y="32"/>
                    <a:pt x="1057" y="32"/>
                  </a:cubicBezTo>
                  <a:cubicBezTo>
                    <a:pt x="1056" y="32"/>
                    <a:pt x="1056" y="32"/>
                    <a:pt x="1056" y="32"/>
                  </a:cubicBezTo>
                  <a:cubicBezTo>
                    <a:pt x="1051" y="29"/>
                    <a:pt x="1045" y="28"/>
                    <a:pt x="1041" y="28"/>
                  </a:cubicBezTo>
                  <a:cubicBezTo>
                    <a:pt x="1034" y="28"/>
                    <a:pt x="1029" y="31"/>
                    <a:pt x="1025" y="35"/>
                  </a:cubicBezTo>
                  <a:cubicBezTo>
                    <a:pt x="1021" y="39"/>
                    <a:pt x="1019" y="46"/>
                    <a:pt x="1019" y="54"/>
                  </a:cubicBezTo>
                  <a:cubicBezTo>
                    <a:pt x="1019" y="72"/>
                    <a:pt x="1019" y="72"/>
                    <a:pt x="1019" y="72"/>
                  </a:cubicBezTo>
                  <a:cubicBezTo>
                    <a:pt x="1070" y="72"/>
                    <a:pt x="1070" y="72"/>
                    <a:pt x="1070" y="72"/>
                  </a:cubicBezTo>
                  <a:cubicBezTo>
                    <a:pt x="1070" y="40"/>
                    <a:pt x="1070" y="40"/>
                    <a:pt x="1070" y="40"/>
                  </a:cubicBezTo>
                  <a:cubicBezTo>
                    <a:pt x="1071" y="39"/>
                    <a:pt x="1071" y="39"/>
                    <a:pt x="1071" y="39"/>
                  </a:cubicBezTo>
                  <a:cubicBezTo>
                    <a:pt x="1103" y="30"/>
                    <a:pt x="1103" y="30"/>
                    <a:pt x="1103" y="30"/>
                  </a:cubicBezTo>
                  <a:cubicBezTo>
                    <a:pt x="1104" y="29"/>
                    <a:pt x="1104" y="29"/>
                    <a:pt x="1104" y="29"/>
                  </a:cubicBezTo>
                  <a:cubicBezTo>
                    <a:pt x="1104" y="72"/>
                    <a:pt x="1104" y="72"/>
                    <a:pt x="1104" y="72"/>
                  </a:cubicBezTo>
                  <a:cubicBezTo>
                    <a:pt x="1139" y="72"/>
                    <a:pt x="1139" y="72"/>
                    <a:pt x="1139" y="72"/>
                  </a:cubicBezTo>
                  <a:cubicBezTo>
                    <a:pt x="1139" y="100"/>
                    <a:pt x="1139" y="100"/>
                    <a:pt x="1139" y="100"/>
                  </a:cubicBezTo>
                  <a:lnTo>
                    <a:pt x="1104" y="100"/>
                  </a:lnTo>
                  <a:close/>
                </a:path>
              </a:pathLst>
            </a:custGeom>
            <a:solidFill>
              <a:srgbClr val="737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6" name="Rectangle 28"/>
            <p:cNvSpPr>
              <a:spLocks noChangeArrowheads="1"/>
            </p:cNvSpPr>
            <p:nvPr/>
          </p:nvSpPr>
          <p:spPr bwMode="auto">
            <a:xfrm>
              <a:off x="4846638" y="3441700"/>
              <a:ext cx="600075" cy="600075"/>
            </a:xfrm>
            <a:prstGeom prst="rect">
              <a:avLst/>
            </a:prstGeom>
            <a:solidFill>
              <a:srgbClr val="F250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7" name="Rectangle 29"/>
            <p:cNvSpPr>
              <a:spLocks noChangeArrowheads="1"/>
            </p:cNvSpPr>
            <p:nvPr/>
          </p:nvSpPr>
          <p:spPr bwMode="auto">
            <a:xfrm>
              <a:off x="5510213" y="3441700"/>
              <a:ext cx="596900" cy="600075"/>
            </a:xfrm>
            <a:prstGeom prst="rect">
              <a:avLst/>
            </a:prstGeom>
            <a:solidFill>
              <a:srgbClr val="7FB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8" name="Rectangle 30"/>
            <p:cNvSpPr>
              <a:spLocks noChangeArrowheads="1"/>
            </p:cNvSpPr>
            <p:nvPr/>
          </p:nvSpPr>
          <p:spPr bwMode="auto">
            <a:xfrm>
              <a:off x="4846638" y="4102100"/>
              <a:ext cx="600075" cy="600075"/>
            </a:xfrm>
            <a:prstGeom prst="rect">
              <a:avLst/>
            </a:prstGeom>
            <a:solidFill>
              <a:srgbClr val="00A4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9" name="Rectangle 31"/>
            <p:cNvSpPr>
              <a:spLocks noChangeArrowheads="1"/>
            </p:cNvSpPr>
            <p:nvPr/>
          </p:nvSpPr>
          <p:spPr bwMode="auto">
            <a:xfrm>
              <a:off x="5510213" y="4102100"/>
              <a:ext cx="596900" cy="600075"/>
            </a:xfrm>
            <a:prstGeom prst="rect">
              <a:avLst/>
            </a:pr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DA92BD2B-A6BC-456E-8528-83EBF82DAA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r"/>
            <a:fld id="{4F6BF59E-C7AB-4D2C-B602-9844A5FEE556}" type="slidenum">
              <a:rPr lang="en-IN" smtClean="0"/>
              <a:pPr algn="r"/>
              <a:t>‹#›</a:t>
            </a:fld>
            <a:endParaRPr lang="en-IN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A252359A-DAF3-42B9-9459-B7AC645EE2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E9FB2A7E-E3C3-4EE7-ACD1-BA486535E69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IN"/>
              <a:t>Microsoft Confidential</a:t>
            </a:r>
            <a:endParaRPr lang="en-IN" sz="784"/>
          </a:p>
        </p:txBody>
      </p:sp>
    </p:spTree>
    <p:extLst>
      <p:ext uri="{BB962C8B-B14F-4D97-AF65-F5344CB8AC3E}">
        <p14:creationId xmlns:p14="http://schemas.microsoft.com/office/powerpoint/2010/main" val="104233181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335870C-03A1-4C22-B17E-3FA16EF07BD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algn="r"/>
            <a:fld id="{4F6BF59E-C7AB-4D2C-B602-9844A5FEE556}" type="slidenum">
              <a:rPr lang="en-IN" smtClean="0"/>
              <a:pPr algn="r"/>
              <a:t>‹#›</a:t>
            </a:fld>
            <a:endParaRPr lang="en-IN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4ECBC347-867C-4663-8251-9D66C3A3C0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056DDB1-A849-4776-B71F-EF88F64F59F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IN"/>
              <a:t>Microsoft Confidential</a:t>
            </a:r>
            <a:endParaRPr lang="en-IN" sz="784"/>
          </a:p>
        </p:txBody>
      </p:sp>
    </p:spTree>
    <p:extLst>
      <p:ext uri="{BB962C8B-B14F-4D97-AF65-F5344CB8AC3E}">
        <p14:creationId xmlns:p14="http://schemas.microsoft.com/office/powerpoint/2010/main" val="3646357763"/>
      </p:ext>
    </p:extLst>
  </p:cSld>
  <p:clrMapOvr>
    <a:masterClrMapping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6DAEF4-8AC5-43FC-B863-82B31A4B149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s-PE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15123D1-5B55-47F7-841C-9A6C33566C2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s-P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53044E2-682A-49FB-AC0D-66FDCAA71B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29DD5A-493C-43DC-A316-627A3B2347FB}" type="datetimeFigureOut">
              <a:rPr lang="es-PE" smtClean="0"/>
              <a:t>1/09/2022</a:t>
            </a:fld>
            <a:endParaRPr lang="es-P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30DA44F-39F2-4208-86D6-346ED3D155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BB63B2E-61A8-43F4-ABC1-E6A82757A2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6CBF3C-C749-401E-9CF5-A1A9A701D14A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009246379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7B2345-F0AB-4EE5-AAD1-9DA4935C30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P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B0D70F4-947E-405E-BCA4-F5857ADA190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P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D4BAD1E-A37D-497F-B9D5-3B19DE2EE7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29DD5A-493C-43DC-A316-627A3B2347FB}" type="datetimeFigureOut">
              <a:rPr lang="es-PE" smtClean="0"/>
              <a:t>1/09/2022</a:t>
            </a:fld>
            <a:endParaRPr lang="es-P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ECF4B42-1F12-487B-9012-CBD35EBA7A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57C5B09-6D1D-47C1-B972-546DB90D30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6CBF3C-C749-401E-9CF5-A1A9A701D14A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784122821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3C90CA-E03E-4FDB-A7C5-9629B7B33A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s-P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7C2ED6F-2C92-4818-94F7-2FAE06E33D7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86B9358-60EF-469E-AD5A-3B253349B2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29DD5A-493C-43DC-A316-627A3B2347FB}" type="datetimeFigureOut">
              <a:rPr lang="es-PE" smtClean="0"/>
              <a:t>1/09/2022</a:t>
            </a:fld>
            <a:endParaRPr lang="es-P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2C77E1C-267A-4EAC-8BA3-3865313BCA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D555160-26FF-4C3B-8A39-50B8881D91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6CBF3C-C749-401E-9CF5-A1A9A701D14A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631624364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E51429-00EF-413C-B5A3-1E49F8162E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P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4FF5EB4-CD66-47E4-ACD7-CB57242FE8B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PE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4DD3687-C4C4-4E7D-9A85-29706DFDC48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PE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E8C8D5C-27CF-4CB1-B162-7DE1B918E4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29DD5A-493C-43DC-A316-627A3B2347FB}" type="datetimeFigureOut">
              <a:rPr lang="es-PE" smtClean="0"/>
              <a:t>1/09/2022</a:t>
            </a:fld>
            <a:endParaRPr lang="es-P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50F7A2D-AB6D-4F8C-AAB7-10637E5F06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97BA0E4-7CED-4BA6-82F2-C8A31B8CDF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6CBF3C-C749-401E-9CF5-A1A9A701D14A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309063982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A0BAB1-9D7A-4B96-914C-74FF8396D5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s-P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7420A97-0F4F-4315-9345-8BEB7AF0CAC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4633BC1-59D8-4E57-A066-E5950473CCB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P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B9BADDB-5181-4020-AD86-D16427215ED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4701B72-7F20-4D87-8319-58932BEAFB9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PE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0F44107-3104-463C-885D-60D6F0FA78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29DD5A-493C-43DC-A316-627A3B2347FB}" type="datetimeFigureOut">
              <a:rPr lang="es-PE" smtClean="0"/>
              <a:t>1/09/2022</a:t>
            </a:fld>
            <a:endParaRPr lang="es-PE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3719BCA-06DA-4D6D-BE5B-AB516B7F11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3FFFE83-5713-4914-9FF6-B7E8EF7289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6CBF3C-C749-401E-9CF5-A1A9A701D14A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3394794426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DC67E1-0EA8-40AE-9528-B58E508058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P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21116AD-EBF3-4FE1-B072-70F9D383A3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29DD5A-493C-43DC-A316-627A3B2347FB}" type="datetimeFigureOut">
              <a:rPr lang="es-PE" smtClean="0"/>
              <a:t>1/09/2022</a:t>
            </a:fld>
            <a:endParaRPr lang="es-P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919BF8B-7860-4877-8676-99F1CBF4F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26687AE-9B04-45C4-A71C-33A1028976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6CBF3C-C749-401E-9CF5-A1A9A701D14A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53271463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1" y="1351278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54" indent="0">
              <a:buNone/>
              <a:defRPr/>
            </a:lvl3pPr>
            <a:lvl4pPr marL="448107" indent="0">
              <a:buNone/>
              <a:defRPr/>
            </a:lvl4pPr>
            <a:lvl5pPr marL="672161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85BB213-9279-436F-BC11-F314644715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610623"/>
            <a:ext cx="4114800" cy="15430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/>
              <a:t>Microsoft Confidential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5CD8713F-C28B-400C-A5A4-EFA8005DDFC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91639" y="6610623"/>
            <a:ext cx="351305" cy="15430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fld id="{18FEED8F-67A2-46EA-A24C-A41FAFDEBE6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1454134"/>
      </p:ext>
    </p:extLst>
  </p:cSld>
  <p:clrMapOvr>
    <a:masterClrMapping/>
  </p:clrMapOvr>
  <p:transition>
    <p:fad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7A79878-2751-4500-B514-BBA197CC0A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29DD5A-493C-43DC-A316-627A3B2347FB}" type="datetimeFigureOut">
              <a:rPr lang="es-PE" smtClean="0"/>
              <a:t>1/09/2022</a:t>
            </a:fld>
            <a:endParaRPr lang="es-P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0CBAEBE-123E-44E7-B375-446C3F124E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6C81290-DCC0-4551-A04A-04BD077572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6CBF3C-C749-401E-9CF5-A1A9A701D14A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750510565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3D4A95-92D0-448F-AE49-3263F05E40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s-P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682EBBC-D291-40D9-875B-0323CAA3931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P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B7C44D4-2569-4709-9CD1-8C59662DFB8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F9FE84D-7CB9-4F25-8827-BD5CCA2593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29DD5A-493C-43DC-A316-627A3B2347FB}" type="datetimeFigureOut">
              <a:rPr lang="es-PE" smtClean="0"/>
              <a:t>1/09/2022</a:t>
            </a:fld>
            <a:endParaRPr lang="es-P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B1C8753-C0EE-474F-A274-17473F4203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AFEED62-9102-42F4-939F-51FB79BA5C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6CBF3C-C749-401E-9CF5-A1A9A701D14A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972088495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415A6F-FF7B-4F8F-992A-32DCD38D89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s-PE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170ABFF-AFA6-493D-8F44-344059FBE20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P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C7C46B0-C981-48E9-A9F9-28796D192BF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ECA1749-EF3E-4946-99FF-5E0DDFDE58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29DD5A-493C-43DC-A316-627A3B2347FB}" type="datetimeFigureOut">
              <a:rPr lang="es-PE" smtClean="0"/>
              <a:t>1/09/2022</a:t>
            </a:fld>
            <a:endParaRPr lang="es-P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86A26E3-23CA-4C3B-B5FC-B5360CDAA6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3A5865C-5AF4-4EA4-9AD3-10ACD46F5F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6CBF3C-C749-401E-9CF5-A1A9A701D14A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774167641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F692C8-88B7-4C3C-BB48-0277DAE34A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P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5BFF4C6-A464-4185-ABF2-034BAE6386A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P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BD5AE84-07D0-4AF2-B3D0-0153FCDB4C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29DD5A-493C-43DC-A316-627A3B2347FB}" type="datetimeFigureOut">
              <a:rPr lang="es-PE" smtClean="0"/>
              <a:t>1/09/2022</a:t>
            </a:fld>
            <a:endParaRPr lang="es-P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50F6E55-B467-424D-9C0D-31B0663EAA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BAEC439-DCDE-426D-8882-9E5D5195E9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6CBF3C-C749-401E-9CF5-A1A9A701D14A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960042724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3A6ACB3C-99F3-41C1-A0CD-E78ACF0C336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s-P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A698069-DA2D-4114-B020-8CB896D67B9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P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0238B7B-795B-4EF8-BB01-0224B28EDC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29DD5A-493C-43DC-A316-627A3B2347FB}" type="datetimeFigureOut">
              <a:rPr lang="es-PE" smtClean="0"/>
              <a:t>1/09/2022</a:t>
            </a:fld>
            <a:endParaRPr lang="es-P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C3DE4F1-A5CF-4EEB-97EE-AF5A1D9403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458A6A1-B37A-45F8-93A7-A0D93AA52D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6CBF3C-C749-401E-9CF5-A1A9A701D14A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55705024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0" y="1345720"/>
            <a:ext cx="11653523" cy="1985641"/>
          </a:xfrm>
        </p:spPr>
        <p:txBody>
          <a:bodyPr>
            <a:spAutoFit/>
          </a:bodyPr>
          <a:lstStyle>
            <a:lvl1pPr>
              <a:defRPr sz="3528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5767142-D9C7-42FA-ADB4-6BC3F8C4914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610623"/>
            <a:ext cx="4114800" cy="15430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/>
              <a:t>Microsoft Confidential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DA5B653B-718D-4822-B097-2BE1F25250A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91639" y="6610623"/>
            <a:ext cx="351305" cy="15430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fld id="{18FEED8F-67A2-46EA-A24C-A41FAFDEBE6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8394202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2" y="1345713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6"/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345713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6"/>
            </a:lvl1pPr>
            <a:lvl2pPr marL="0" indent="0">
              <a:buNone/>
              <a:defRPr sz="1961"/>
            </a:lvl2pPr>
            <a:lvl3pPr marL="227165" indent="0">
              <a:buNone/>
              <a:tabLst/>
              <a:defRPr sz="1961"/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82CF2804-5C5D-4ED1-8D87-2AF90222B9C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610623"/>
            <a:ext cx="4114800" cy="15430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/>
              <a:t>Microsoft Confidential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EA01924F-448F-49F0-8263-FD05203761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91639" y="6610623"/>
            <a:ext cx="351305" cy="15430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fld id="{18FEED8F-67A2-46EA-A24C-A41FAFDEBE6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5056458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ags" Target="../tags/tag1.xml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1.xml"/><Relationship Id="rId18" Type="http://schemas.openxmlformats.org/officeDocument/2006/relationships/slideLayout" Target="../slideLayouts/slideLayout46.xml"/><Relationship Id="rId26" Type="http://schemas.openxmlformats.org/officeDocument/2006/relationships/slideLayout" Target="../slideLayouts/slideLayout54.xml"/><Relationship Id="rId39" Type="http://schemas.openxmlformats.org/officeDocument/2006/relationships/oleObject" Target="../embeddings/oleObject29.bin"/><Relationship Id="rId21" Type="http://schemas.openxmlformats.org/officeDocument/2006/relationships/slideLayout" Target="../slideLayouts/slideLayout49.xml"/><Relationship Id="rId34" Type="http://schemas.openxmlformats.org/officeDocument/2006/relationships/slideLayout" Target="../slideLayouts/slideLayout62.xml"/><Relationship Id="rId7" Type="http://schemas.openxmlformats.org/officeDocument/2006/relationships/slideLayout" Target="../slideLayouts/slideLayout35.xml"/><Relationship Id="rId12" Type="http://schemas.openxmlformats.org/officeDocument/2006/relationships/slideLayout" Target="../slideLayouts/slideLayout40.xml"/><Relationship Id="rId17" Type="http://schemas.openxmlformats.org/officeDocument/2006/relationships/slideLayout" Target="../slideLayouts/slideLayout45.xml"/><Relationship Id="rId25" Type="http://schemas.openxmlformats.org/officeDocument/2006/relationships/slideLayout" Target="../slideLayouts/slideLayout53.xml"/><Relationship Id="rId33" Type="http://schemas.openxmlformats.org/officeDocument/2006/relationships/slideLayout" Target="../slideLayouts/slideLayout61.xml"/><Relationship Id="rId38" Type="http://schemas.openxmlformats.org/officeDocument/2006/relationships/tags" Target="../tags/tag32.xml"/><Relationship Id="rId2" Type="http://schemas.openxmlformats.org/officeDocument/2006/relationships/slideLayout" Target="../slideLayouts/slideLayout30.xml"/><Relationship Id="rId16" Type="http://schemas.openxmlformats.org/officeDocument/2006/relationships/slideLayout" Target="../slideLayouts/slideLayout44.xml"/><Relationship Id="rId20" Type="http://schemas.openxmlformats.org/officeDocument/2006/relationships/slideLayout" Target="../slideLayouts/slideLayout48.xml"/><Relationship Id="rId29" Type="http://schemas.openxmlformats.org/officeDocument/2006/relationships/slideLayout" Target="../slideLayouts/slideLayout57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24" Type="http://schemas.openxmlformats.org/officeDocument/2006/relationships/slideLayout" Target="../slideLayouts/slideLayout52.xml"/><Relationship Id="rId32" Type="http://schemas.openxmlformats.org/officeDocument/2006/relationships/slideLayout" Target="../slideLayouts/slideLayout60.xml"/><Relationship Id="rId37" Type="http://schemas.openxmlformats.org/officeDocument/2006/relationships/tags" Target="../tags/tag31.xml"/><Relationship Id="rId40" Type="http://schemas.openxmlformats.org/officeDocument/2006/relationships/image" Target="../media/image1.emf"/><Relationship Id="rId5" Type="http://schemas.openxmlformats.org/officeDocument/2006/relationships/slideLayout" Target="../slideLayouts/slideLayout33.xml"/><Relationship Id="rId15" Type="http://schemas.openxmlformats.org/officeDocument/2006/relationships/slideLayout" Target="../slideLayouts/slideLayout43.xml"/><Relationship Id="rId23" Type="http://schemas.openxmlformats.org/officeDocument/2006/relationships/slideLayout" Target="../slideLayouts/slideLayout51.xml"/><Relationship Id="rId28" Type="http://schemas.openxmlformats.org/officeDocument/2006/relationships/slideLayout" Target="../slideLayouts/slideLayout56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38.xml"/><Relationship Id="rId19" Type="http://schemas.openxmlformats.org/officeDocument/2006/relationships/slideLayout" Target="../slideLayouts/slideLayout47.xml"/><Relationship Id="rId31" Type="http://schemas.openxmlformats.org/officeDocument/2006/relationships/slideLayout" Target="../slideLayouts/slideLayout59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Relationship Id="rId14" Type="http://schemas.openxmlformats.org/officeDocument/2006/relationships/slideLayout" Target="../slideLayouts/slideLayout42.xml"/><Relationship Id="rId22" Type="http://schemas.openxmlformats.org/officeDocument/2006/relationships/slideLayout" Target="../slideLayouts/slideLayout50.xml"/><Relationship Id="rId27" Type="http://schemas.openxmlformats.org/officeDocument/2006/relationships/slideLayout" Target="../slideLayouts/slideLayout55.xml"/><Relationship Id="rId30" Type="http://schemas.openxmlformats.org/officeDocument/2006/relationships/slideLayout" Target="../slideLayouts/slideLayout58.xml"/><Relationship Id="rId35" Type="http://schemas.openxmlformats.org/officeDocument/2006/relationships/slideLayout" Target="../slideLayouts/slideLayout63.xml"/><Relationship Id="rId8" Type="http://schemas.openxmlformats.org/officeDocument/2006/relationships/slideLayout" Target="../slideLayouts/slideLayout36.xml"/><Relationship Id="rId3" Type="http://schemas.openxmlformats.org/officeDocument/2006/relationships/slideLayout" Target="../slideLayouts/slideLayout3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1.xml"/><Relationship Id="rId3" Type="http://schemas.openxmlformats.org/officeDocument/2006/relationships/slideLayout" Target="../slideLayouts/slideLayout66.xml"/><Relationship Id="rId7" Type="http://schemas.openxmlformats.org/officeDocument/2006/relationships/slideLayout" Target="../slideLayouts/slideLayout70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65.xml"/><Relationship Id="rId1" Type="http://schemas.openxmlformats.org/officeDocument/2006/relationships/slideLayout" Target="../slideLayouts/slideLayout64.xml"/><Relationship Id="rId6" Type="http://schemas.openxmlformats.org/officeDocument/2006/relationships/slideLayout" Target="../slideLayouts/slideLayout69.xml"/><Relationship Id="rId11" Type="http://schemas.openxmlformats.org/officeDocument/2006/relationships/slideLayout" Target="../slideLayouts/slideLayout74.xml"/><Relationship Id="rId5" Type="http://schemas.openxmlformats.org/officeDocument/2006/relationships/slideLayout" Target="../slideLayouts/slideLayout68.xml"/><Relationship Id="rId10" Type="http://schemas.openxmlformats.org/officeDocument/2006/relationships/slideLayout" Target="../slideLayouts/slideLayout73.xml"/><Relationship Id="rId4" Type="http://schemas.openxmlformats.org/officeDocument/2006/relationships/slideLayout" Target="../slideLayouts/slideLayout67.xml"/><Relationship Id="rId9" Type="http://schemas.openxmlformats.org/officeDocument/2006/relationships/slideLayout" Target="../slideLayouts/slideLayout7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1793551343"/>
              </p:ext>
            </p:ext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2" imgW="378" imgH="377" progId="TCLayout.ActiveDocument.1">
                  <p:embed/>
                </p:oleObj>
              </mc:Choice>
              <mc:Fallback>
                <p:oleObj name="think-cell Slide" r:id="rId32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6808B34B-8E2A-40D5-97DA-3AF7C462260A}"/>
              </a:ext>
            </a:extLst>
          </p:cNvPr>
          <p:cNvSpPr/>
          <p:nvPr userDrawn="1">
            <p:custDataLst>
              <p:tags r:id="rId31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0" i="0" baseline="0">
              <a:solidFill>
                <a:schemeClr val="tx1"/>
              </a:solidFill>
              <a:latin typeface="Segoe UI Light" panose="020B0502040204020203" pitchFamily="34" charset="0"/>
              <a:ea typeface="+mn-ea"/>
              <a:cs typeface="Segoe UI" panose="020B0502040204020203" pitchFamily="34" charset="0"/>
              <a:sym typeface="Segoe UI Light" panose="020B0502040204020203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53713"/>
            <a:ext cx="11465560" cy="935463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2" y="1348820"/>
            <a:ext cx="11465559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4"/>
          <a:stretch>
            <a:fillRect/>
          </a:stretch>
        </p:blipFill>
        <p:spPr>
          <a:xfrm rot="5400000">
            <a:off x="9208748" y="2991034"/>
            <a:ext cx="6858623" cy="876557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CD14E01-B3D2-45C6-8015-C3BE1112C3E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610623"/>
            <a:ext cx="4114800" cy="15430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/>
              <a:t>Microsoft 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B20712C-6655-449A-A85B-AAA3624938D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91639" y="6610623"/>
            <a:ext cx="351305" cy="15430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fld id="{18FEED8F-67A2-46EA-A24C-A41FAFDEBE6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579355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</p:sldLayoutIdLst>
  <p:transition>
    <p:fade/>
  </p:transition>
  <p:hf hdr="0" dt="0"/>
  <p:txStyles>
    <p:titleStyle>
      <a:lvl1pPr algn="l" defTabSz="914192" rtl="0" eaLnBrk="1" latinLnBrk="0" hangingPunct="1">
        <a:lnSpc>
          <a:spcPct val="90000"/>
        </a:lnSpc>
        <a:spcBef>
          <a:spcPct val="0"/>
        </a:spcBef>
        <a:buNone/>
        <a:defRPr lang="en-US" sz="4400" b="0" kern="1200" cap="none" spc="-100" baseline="0" dirty="0">
          <a:ln w="3175">
            <a:noFill/>
          </a:ln>
          <a:gradFill>
            <a:gsLst>
              <a:gs pos="1250">
                <a:schemeClr val="bg1"/>
              </a:gs>
              <a:gs pos="100000">
                <a:schemeClr val="bg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080" marR="0" indent="-33608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20" kern="1200" spc="0" baseline="0">
          <a:gradFill>
            <a:gsLst>
              <a:gs pos="1250">
                <a:schemeClr val="bg1"/>
              </a:gs>
              <a:gs pos="100000">
                <a:schemeClr val="bg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581" marR="0" indent="-23650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bg1"/>
              </a:gs>
              <a:gs pos="100000">
                <a:schemeClr val="bg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187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bg1"/>
              </a:gs>
              <a:gs pos="100000">
                <a:schemeClr val="bg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241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bg1"/>
              </a:gs>
              <a:gs pos="100000">
                <a:schemeClr val="bg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294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bg1"/>
              </a:gs>
              <a:gs pos="100000">
                <a:schemeClr val="bg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026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123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219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5315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09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192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28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383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479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257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9967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676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6" pos="288">
          <p15:clr>
            <a:srgbClr val="C35EA4"/>
          </p15:clr>
        </p15:guide>
        <p15:guide id="17" pos="7392">
          <p15:clr>
            <a:srgbClr val="C35EA4"/>
          </p15:clr>
        </p15:guide>
        <p15:guide id="18" orient="horz" pos="763">
          <p15:clr>
            <a:srgbClr val="C35EA4"/>
          </p15:clr>
        </p15:guide>
        <p15:guide id="25" orient="horz" pos="163">
          <p15:clr>
            <a:srgbClr val="C35EA4"/>
          </p15:clr>
        </p15:guide>
        <p15:guide id="26" orient="horz" pos="4104">
          <p15:clr>
            <a:srgbClr val="C35EA4"/>
          </p15:clr>
        </p15:guide>
        <p15:guide id="27" orient="horz" pos="859">
          <p15:clr>
            <a:srgbClr val="C35E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7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9" imgW="378" imgH="377" progId="TCLayout.ActiveDocument.1">
                  <p:embed/>
                </p:oleObj>
              </mc:Choice>
              <mc:Fallback>
                <p:oleObj name="think-cell Slide" r:id="rId39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DDBAA73-21AA-4A9D-8B9F-530C4FE033D4}"/>
              </a:ext>
            </a:extLst>
          </p:cNvPr>
          <p:cNvSpPr/>
          <p:nvPr userDrawn="1">
            <p:custDataLst>
              <p:tags r:id="rId38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000" b="0" i="0" baseline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bold" panose="020B0702040204020203" pitchFamily="34" charset="0"/>
              <a:ea typeface="+mn-ea"/>
              <a:cs typeface="Segoe UI" pitchFamily="34" charset="0"/>
              <a:sym typeface="Segoe UI Semibold" panose="020B0702040204020203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48212" y="380414"/>
            <a:ext cx="11286588" cy="48283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448186" y="1348823"/>
            <a:ext cx="11286614" cy="1457545"/>
          </a:xfrm>
          <a:prstGeom prst="rect">
            <a:avLst/>
          </a:prstGeom>
        </p:spPr>
        <p:txBody>
          <a:bodyPr vert="horz" wrap="square" lIns="0" tIns="91440" rIns="0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A45F5DD-18AA-4473-83CC-43582D2280B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581" y="6600971"/>
            <a:ext cx="4114839" cy="12070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ctr">
              <a:defRPr sz="784">
                <a:solidFill>
                  <a:schemeClr val="bg1"/>
                </a:solidFill>
              </a:defRPr>
            </a:lvl1pPr>
          </a:lstStyle>
          <a:p>
            <a:r>
              <a:rPr lang="en-IN"/>
              <a:t>Microsoft Confidential</a:t>
            </a:r>
            <a:endParaRPr lang="en-IN" sz="784"/>
          </a:p>
        </p:txBody>
      </p:sp>
      <p:sp>
        <p:nvSpPr>
          <p:cNvPr id="8" name="Slide Number Placeholder 4">
            <a:extLst>
              <a:ext uri="{FF2B5EF4-FFF2-40B4-BE49-F238E27FC236}">
                <a16:creationId xmlns:a16="http://schemas.microsoft.com/office/drawing/2014/main" id="{A908436B-9681-4B05-BA1B-6B8833029E0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879420" y="6585883"/>
            <a:ext cx="139862" cy="1357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>
              <a:defRPr lang="en-US" sz="784" smtClean="0">
                <a:solidFill>
                  <a:schemeClr val="bg1"/>
                </a:solidFill>
              </a:defRPr>
            </a:lvl1pPr>
          </a:lstStyle>
          <a:p>
            <a:pPr algn="r"/>
            <a:fld id="{4F6BF59E-C7AB-4D2C-B602-9844A5FEE556}" type="slidenum">
              <a:rPr lang="en-IN" smtClean="0"/>
              <a:pPr algn="r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73093645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0" r:id="rId1"/>
    <p:sldLayoutId id="2147483691" r:id="rId2"/>
    <p:sldLayoutId id="2147483692" r:id="rId3"/>
    <p:sldLayoutId id="2147483693" r:id="rId4"/>
    <p:sldLayoutId id="2147483694" r:id="rId5"/>
    <p:sldLayoutId id="2147483695" r:id="rId6"/>
    <p:sldLayoutId id="2147483696" r:id="rId7"/>
    <p:sldLayoutId id="2147483697" r:id="rId8"/>
    <p:sldLayoutId id="2147483698" r:id="rId9"/>
    <p:sldLayoutId id="2147483699" r:id="rId10"/>
    <p:sldLayoutId id="2147483700" r:id="rId11"/>
    <p:sldLayoutId id="2147483701" r:id="rId12"/>
    <p:sldLayoutId id="2147483702" r:id="rId13"/>
    <p:sldLayoutId id="2147483703" r:id="rId14"/>
    <p:sldLayoutId id="2147483704" r:id="rId15"/>
    <p:sldLayoutId id="2147483705" r:id="rId16"/>
    <p:sldLayoutId id="2147483706" r:id="rId17"/>
    <p:sldLayoutId id="2147483707" r:id="rId18"/>
    <p:sldLayoutId id="2147483708" r:id="rId19"/>
    <p:sldLayoutId id="2147483709" r:id="rId20"/>
    <p:sldLayoutId id="2147483710" r:id="rId21"/>
    <p:sldLayoutId id="2147483711" r:id="rId22"/>
    <p:sldLayoutId id="2147483712" r:id="rId23"/>
    <p:sldLayoutId id="2147483713" r:id="rId24"/>
    <p:sldLayoutId id="2147483714" r:id="rId25"/>
    <p:sldLayoutId id="2147483715" r:id="rId26"/>
    <p:sldLayoutId id="2147483716" r:id="rId27"/>
    <p:sldLayoutId id="2147483717" r:id="rId28"/>
    <p:sldLayoutId id="2147483718" r:id="rId29"/>
    <p:sldLayoutId id="2147483719" r:id="rId30"/>
    <p:sldLayoutId id="2147483720" r:id="rId31"/>
    <p:sldLayoutId id="2147483721" r:id="rId32"/>
    <p:sldLayoutId id="2147483722" r:id="rId33"/>
    <p:sldLayoutId id="2147483723" r:id="rId34"/>
    <p:sldLayoutId id="2147483724" r:id="rId35"/>
  </p:sldLayoutIdLst>
  <p:transition>
    <p:fade/>
  </p:transition>
  <p:hf hdr="0" dt="0"/>
  <p:txStyles>
    <p:titleStyle>
      <a:lvl1pPr algn="l" defTabSz="913841" rtl="0" eaLnBrk="1" latinLnBrk="0" hangingPunct="1">
        <a:lnSpc>
          <a:spcPct val="100000"/>
        </a:lnSpc>
        <a:spcBef>
          <a:spcPct val="0"/>
        </a:spcBef>
        <a:buNone/>
        <a:defRPr lang="en-US" sz="3137" b="0" kern="1200" cap="none" spc="0" baseline="0" dirty="0">
          <a:ln w="3175">
            <a:noFill/>
          </a:ln>
          <a:solidFill>
            <a:schemeClr val="bg1"/>
          </a:solidFill>
          <a:effectLst/>
          <a:latin typeface="+mj-lt"/>
          <a:ea typeface="+mn-ea"/>
          <a:cs typeface="Segoe UI" pitchFamily="34" charset="0"/>
        </a:defRPr>
      </a:lvl1pPr>
    </p:titleStyle>
    <p:bodyStyle>
      <a:lvl1pPr marL="224054" marR="0" indent="-224054" algn="l" defTabSz="913841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745" kern="1200" spc="0" baseline="0">
          <a:solidFill>
            <a:schemeClr val="bg1"/>
          </a:solidFill>
          <a:latin typeface="+mj-lt"/>
          <a:ea typeface="+mn-ea"/>
          <a:cs typeface="+mn-cs"/>
        </a:defRPr>
      </a:lvl1pPr>
      <a:lvl2pPr marL="507233" marR="0" indent="-182044" algn="l" defTabSz="913841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567" kern="1200" spc="0" baseline="0">
          <a:solidFill>
            <a:schemeClr val="bg1"/>
          </a:solidFill>
          <a:latin typeface="+mn-lt"/>
          <a:ea typeface="+mn-ea"/>
          <a:cs typeface="+mn-cs"/>
        </a:defRPr>
      </a:lvl2pPr>
      <a:lvl3pPr marL="731285" marR="0" indent="-171153" algn="l" defTabSz="913841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370" kern="1200" spc="0" baseline="0">
          <a:solidFill>
            <a:schemeClr val="bg1"/>
          </a:solidFill>
          <a:latin typeface="+mn-lt"/>
          <a:ea typeface="+mn-ea"/>
          <a:cs typeface="+mn-cs"/>
        </a:defRPr>
      </a:lvl3pPr>
      <a:lvl4pPr marL="896214" marR="0" indent="-112027" algn="l" defTabSz="913841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174" kern="1200" spc="0" baseline="0">
          <a:solidFill>
            <a:schemeClr val="bg1"/>
          </a:solidFill>
          <a:latin typeface="+mn-lt"/>
          <a:ea typeface="+mn-ea"/>
          <a:cs typeface="+mn-cs"/>
        </a:defRPr>
      </a:lvl4pPr>
      <a:lvl5pPr marL="1120268" marR="0" indent="-112027" algn="l" defTabSz="913841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174" kern="1200" spc="0" baseline="0">
          <a:solidFill>
            <a:schemeClr val="bg1"/>
          </a:solidFill>
          <a:latin typeface="+mn-lt"/>
          <a:ea typeface="+mn-ea"/>
          <a:cs typeface="+mn-cs"/>
        </a:defRPr>
      </a:lvl5pPr>
      <a:lvl6pPr marL="2513061" indent="-228460" algn="l" defTabSz="913841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69982" indent="-228460" algn="l" defTabSz="913841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6902" indent="-228460" algn="l" defTabSz="913841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3823" indent="-228460" algn="l" defTabSz="913841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841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6919" algn="l" defTabSz="913841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3841" algn="l" defTabSz="913841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0760" algn="l" defTabSz="913841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7681" algn="l" defTabSz="913841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4601" algn="l" defTabSz="913841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1522" algn="l" defTabSz="913841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98440" algn="l" defTabSz="913841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5363" algn="l" defTabSz="913841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6" pos="269">
          <p15:clr>
            <a:srgbClr val="C35EA4"/>
          </p15:clr>
        </p15:guide>
        <p15:guide id="17" pos="7565">
          <p15:clr>
            <a:srgbClr val="C35EA4"/>
          </p15:clr>
        </p15:guide>
        <p15:guide id="18" orient="horz" pos="763">
          <p15:clr>
            <a:srgbClr val="C35EA4"/>
          </p15:clr>
        </p15:guide>
        <p15:guide id="25" orient="horz" pos="163">
          <p15:clr>
            <a:srgbClr val="C35EA4"/>
          </p15:clr>
        </p15:guide>
        <p15:guide id="26" orient="horz" pos="4056">
          <p15:clr>
            <a:srgbClr val="C35EA4"/>
          </p15:clr>
        </p15:guide>
        <p15:guide id="27" orient="horz" pos="859">
          <p15:clr>
            <a:srgbClr val="C35E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AC46DF8-A396-41A7-9EA2-4123398EBD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s-P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6277C24-61E7-4813-A600-4863DA9A797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P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DB5E280-808F-482F-B4AA-E8949214743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529DD5A-493C-43DC-A316-627A3B2347FB}" type="datetimeFigureOut">
              <a:rPr lang="es-PE" smtClean="0"/>
              <a:t>1/09/2022</a:t>
            </a:fld>
            <a:endParaRPr lang="es-P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610F74-254E-4450-80DD-61C5A9A70C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P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DAB87B6-303B-4DE8-B179-76F84A0A22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16CBF3C-C749-401E-9CF5-A1A9A701D14A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8026619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  <p:sldLayoutId id="2147483728" r:id="rId3"/>
    <p:sldLayoutId id="2147483729" r:id="rId4"/>
    <p:sldLayoutId id="2147483730" r:id="rId5"/>
    <p:sldLayoutId id="2147483731" r:id="rId6"/>
    <p:sldLayoutId id="2147483732" r:id="rId7"/>
    <p:sldLayoutId id="2147483733" r:id="rId8"/>
    <p:sldLayoutId id="2147483734" r:id="rId9"/>
    <p:sldLayoutId id="2147483735" r:id="rId10"/>
    <p:sldLayoutId id="2147483736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P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hyperlink" Target="https://docs.microsoft.com/en-us/azure/data-factory/continuous-integration-delivery-resource-manager-custom-parameters" TargetMode="External"/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hyperlink" Target="https://docs.microsoft.com/en-us/azure/data-factory/how-to-create-event-trigger?tabs=data-factory" TargetMode="External"/><Relationship Id="rId1" Type="http://schemas.openxmlformats.org/officeDocument/2006/relationships/slideLayout" Target="../slideLayouts/slideLayout8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hyperlink" Target="https://docs.microsoft.com/en-us/azure/data-factory/continuous-integration-delivery-automate-azure-pipelines#updating-active-triggers" TargetMode="External"/><Relationship Id="rId1" Type="http://schemas.openxmlformats.org/officeDocument/2006/relationships/slideLayout" Target="../slideLayouts/slideLayout8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hyperlink" Target="https://docs.microsoft.com/en-us/azure/data-factory/continuous-integration-delivery" TargetMode="External"/><Relationship Id="rId1" Type="http://schemas.openxmlformats.org/officeDocument/2006/relationships/slideLayout" Target="../slideLayouts/slideLayout8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hyperlink" Target="https://microsoft.sharepoint.com/:w:/r/teams/CSUDataAICommunityIPLibrary/_layouts/15/Doc.aspx?sourcedoc=%7B8D2F4489-2DB8-4976-A8EE-B9E8CACD1181%7D&amp;file=Module%203%20-%20Automate%20ADF%20using%20CICD%20Lab_V1.docx&amp;action=default&amp;mobileredirect=true&amp;cid=c51f7bcd-29ee-4fa2-8f8b-21f88b549660" TargetMode="External"/><Relationship Id="rId1" Type="http://schemas.openxmlformats.org/officeDocument/2006/relationships/slideLayout" Target="../slideLayouts/slideLayout8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hyperlink" Target="https://stackoverflow.com/questions/68839698/global-parameters-for-trigger-body-properties-and-using-split-function-on-trigg" TargetMode="External"/><Relationship Id="rId3" Type="http://schemas.openxmlformats.org/officeDocument/2006/relationships/hyperlink" Target="https://docs.microsoft.com/en-us/azure/data-factory/concepts-pipeline-execution-triggers#trigger-execution-with-json" TargetMode="External"/><Relationship Id="rId7" Type="http://schemas.openxmlformats.org/officeDocument/2006/relationships/hyperlink" Target="https://docs.microsoft.com/en-us/azure/data-factory/author-global-parameters" TargetMode="External"/><Relationship Id="rId12" Type="http://schemas.openxmlformats.org/officeDocument/2006/relationships/hyperlink" Target="https://docs.microsoft.com/en-us/azure/data-factory/continuous-integration-delivery-sample-script" TargetMode="External"/><Relationship Id="rId2" Type="http://schemas.openxmlformats.org/officeDocument/2006/relationships/hyperlink" Target="https://stackoverflow.com/questions/62052791/how-to-get-the-name-of-the-file-that-triggered-the-azure-data-factory-pipeline" TargetMode="External"/><Relationship Id="rId1" Type="http://schemas.openxmlformats.org/officeDocument/2006/relationships/slideLayout" Target="../slideLayouts/slideLayout8.xml"/><Relationship Id="rId6" Type="http://schemas.openxmlformats.org/officeDocument/2006/relationships/hyperlink" Target="https://docs.microsoft.com/en-us/azure/data-factory/how-to-use-trigger-parameterization" TargetMode="External"/><Relationship Id="rId11" Type="http://schemas.openxmlformats.org/officeDocument/2006/relationships/hyperlink" Target="https://docs.microsoft.com/en-us/azure/azure-resource-manager/templates/overview" TargetMode="External"/><Relationship Id="rId5" Type="http://schemas.openxmlformats.org/officeDocument/2006/relationships/hyperlink" Target="https://docs.microsoft.com/en-us/azure/data-factory/control-flow-expression-language-functions#expressions" TargetMode="External"/><Relationship Id="rId10" Type="http://schemas.openxmlformats.org/officeDocument/2006/relationships/hyperlink" Target="https://docs.microsoft.com/en-us/azure/templates/microsoft.datafactory/2018-06-01/factories/triggers?tabs=bicep" TargetMode="External"/><Relationship Id="rId4" Type="http://schemas.openxmlformats.org/officeDocument/2006/relationships/hyperlink" Target="https://docs.microsoft.com/en-us/powershell/module/az.datafactory/set-azdatafactoryv2trigger?view=azps-7.2" TargetMode="External"/><Relationship Id="rId9" Type="http://schemas.openxmlformats.org/officeDocument/2006/relationships/hyperlink" Target="http://www.mutazag.com/blog/code/tutorial/ADF-custom-paramaters/" TargetMode="Externa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7500C6-ADEB-44C7-917D-1D3113CA92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F CI/CD – ARM parameters</a:t>
            </a:r>
            <a:endParaRPr lang="es-PE" dirty="0"/>
          </a:p>
        </p:txBody>
      </p:sp>
    </p:spTree>
    <p:extLst>
      <p:ext uri="{BB962C8B-B14F-4D97-AF65-F5344CB8AC3E}">
        <p14:creationId xmlns:p14="http://schemas.microsoft.com/office/powerpoint/2010/main" val="3668963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ghtning Bolt 3">
            <a:extLst>
              <a:ext uri="{FF2B5EF4-FFF2-40B4-BE49-F238E27FC236}">
                <a16:creationId xmlns:a16="http://schemas.microsoft.com/office/drawing/2014/main" id="{5D32EF5E-B56D-419A-BDCB-A6B79D3678AB}"/>
              </a:ext>
            </a:extLst>
          </p:cNvPr>
          <p:cNvSpPr/>
          <p:nvPr/>
        </p:nvSpPr>
        <p:spPr>
          <a:xfrm>
            <a:off x="3885063" y="1201006"/>
            <a:ext cx="464024" cy="918949"/>
          </a:xfrm>
          <a:prstGeom prst="lightningBol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Lightning Bolt 5">
            <a:extLst>
              <a:ext uri="{FF2B5EF4-FFF2-40B4-BE49-F238E27FC236}">
                <a16:creationId xmlns:a16="http://schemas.microsoft.com/office/drawing/2014/main" id="{1506C21E-4AFD-447A-9A91-9F60C9056CB1}"/>
              </a:ext>
            </a:extLst>
          </p:cNvPr>
          <p:cNvSpPr/>
          <p:nvPr/>
        </p:nvSpPr>
        <p:spPr>
          <a:xfrm>
            <a:off x="3885063" y="2415656"/>
            <a:ext cx="464024" cy="918949"/>
          </a:xfrm>
          <a:prstGeom prst="lightningBol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Lightning Bolt 7">
            <a:extLst>
              <a:ext uri="{FF2B5EF4-FFF2-40B4-BE49-F238E27FC236}">
                <a16:creationId xmlns:a16="http://schemas.microsoft.com/office/drawing/2014/main" id="{29007855-A21D-4C26-B729-275F9D6F0F39}"/>
              </a:ext>
            </a:extLst>
          </p:cNvPr>
          <p:cNvSpPr/>
          <p:nvPr/>
        </p:nvSpPr>
        <p:spPr>
          <a:xfrm>
            <a:off x="3885063" y="3630307"/>
            <a:ext cx="464024" cy="918949"/>
          </a:xfrm>
          <a:prstGeom prst="lightningBol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Lightning Bolt 9">
            <a:extLst>
              <a:ext uri="{FF2B5EF4-FFF2-40B4-BE49-F238E27FC236}">
                <a16:creationId xmlns:a16="http://schemas.microsoft.com/office/drawing/2014/main" id="{C388B696-8033-461F-A8A4-6EDE41F86B8D}"/>
              </a:ext>
            </a:extLst>
          </p:cNvPr>
          <p:cNvSpPr/>
          <p:nvPr/>
        </p:nvSpPr>
        <p:spPr>
          <a:xfrm>
            <a:off x="3885063" y="4844958"/>
            <a:ext cx="464024" cy="918949"/>
          </a:xfrm>
          <a:prstGeom prst="lightningBol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C621BAF-6298-4C57-9874-E9FC6F63D566}"/>
              </a:ext>
            </a:extLst>
          </p:cNvPr>
          <p:cNvSpPr txBox="1"/>
          <p:nvPr/>
        </p:nvSpPr>
        <p:spPr>
          <a:xfrm>
            <a:off x="3998806" y="5852279"/>
            <a:ext cx="242374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</a:t>
            </a: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Cylinder 11">
            <a:extLst>
              <a:ext uri="{FF2B5EF4-FFF2-40B4-BE49-F238E27FC236}">
                <a16:creationId xmlns:a16="http://schemas.microsoft.com/office/drawing/2014/main" id="{509FC23C-E025-4C76-83D8-F3D58BF64FF2}"/>
              </a:ext>
            </a:extLst>
          </p:cNvPr>
          <p:cNvSpPr/>
          <p:nvPr/>
        </p:nvSpPr>
        <p:spPr>
          <a:xfrm rot="5400000">
            <a:off x="7105935" y="2984315"/>
            <a:ext cx="896203" cy="1191950"/>
          </a:xfrm>
          <a:prstGeom prst="ca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6" name="Connector: Elbow 15">
            <a:extLst>
              <a:ext uri="{FF2B5EF4-FFF2-40B4-BE49-F238E27FC236}">
                <a16:creationId xmlns:a16="http://schemas.microsoft.com/office/drawing/2014/main" id="{E14D4AE1-464B-47AE-B00F-0492B39938CA}"/>
              </a:ext>
            </a:extLst>
          </p:cNvPr>
          <p:cNvCxnSpPr>
            <a:stCxn id="4" idx="6"/>
            <a:endCxn id="12" idx="3"/>
          </p:cNvCxnSpPr>
          <p:nvPr/>
        </p:nvCxnSpPr>
        <p:spPr>
          <a:xfrm>
            <a:off x="4161329" y="1459673"/>
            <a:ext cx="2796733" cy="2120618"/>
          </a:xfrm>
          <a:prstGeom prst="bentConnector3">
            <a:avLst>
              <a:gd name="adj1" fmla="val 51464"/>
            </a:avLst>
          </a:prstGeom>
          <a:ln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nector: Elbow 17">
            <a:extLst>
              <a:ext uri="{FF2B5EF4-FFF2-40B4-BE49-F238E27FC236}">
                <a16:creationId xmlns:a16="http://schemas.microsoft.com/office/drawing/2014/main" id="{BF225E03-FDF6-428D-94A1-2352B1E5562F}"/>
              </a:ext>
            </a:extLst>
          </p:cNvPr>
          <p:cNvCxnSpPr>
            <a:stCxn id="6" idx="5"/>
            <a:endCxn id="12" idx="3"/>
          </p:cNvCxnSpPr>
          <p:nvPr/>
        </p:nvCxnSpPr>
        <p:spPr>
          <a:xfrm>
            <a:off x="4241180" y="2926481"/>
            <a:ext cx="2716882" cy="653810"/>
          </a:xfrm>
          <a:prstGeom prst="bentConnector3">
            <a:avLst/>
          </a:prstGeom>
          <a:ln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nector: Elbow 19">
            <a:extLst>
              <a:ext uri="{FF2B5EF4-FFF2-40B4-BE49-F238E27FC236}">
                <a16:creationId xmlns:a16="http://schemas.microsoft.com/office/drawing/2014/main" id="{6D17F994-5CB5-44F3-901D-A1013793D888}"/>
              </a:ext>
            </a:extLst>
          </p:cNvPr>
          <p:cNvCxnSpPr>
            <a:stCxn id="8" idx="5"/>
            <a:endCxn id="12" idx="3"/>
          </p:cNvCxnSpPr>
          <p:nvPr/>
        </p:nvCxnSpPr>
        <p:spPr>
          <a:xfrm flipV="1">
            <a:off x="4241180" y="3580291"/>
            <a:ext cx="2716882" cy="560841"/>
          </a:xfrm>
          <a:prstGeom prst="bentConnector3">
            <a:avLst/>
          </a:prstGeom>
          <a:ln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nector: Elbow 21">
            <a:extLst>
              <a:ext uri="{FF2B5EF4-FFF2-40B4-BE49-F238E27FC236}">
                <a16:creationId xmlns:a16="http://schemas.microsoft.com/office/drawing/2014/main" id="{0D6C0F59-74AB-4832-9C8E-BA3B796CCE6B}"/>
              </a:ext>
            </a:extLst>
          </p:cNvPr>
          <p:cNvCxnSpPr>
            <a:stCxn id="10" idx="5"/>
            <a:endCxn id="12" idx="3"/>
          </p:cNvCxnSpPr>
          <p:nvPr/>
        </p:nvCxnSpPr>
        <p:spPr>
          <a:xfrm flipV="1">
            <a:off x="4241180" y="3580291"/>
            <a:ext cx="2716882" cy="1775492"/>
          </a:xfrm>
          <a:prstGeom prst="bentConnector3">
            <a:avLst/>
          </a:prstGeom>
          <a:ln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 24">
            <a:extLst>
              <a:ext uri="{FF2B5EF4-FFF2-40B4-BE49-F238E27FC236}">
                <a16:creationId xmlns:a16="http://schemas.microsoft.com/office/drawing/2014/main" id="{7DF39155-0DD5-434B-A664-F884DB0ABA4A}"/>
              </a:ext>
            </a:extLst>
          </p:cNvPr>
          <p:cNvSpPr/>
          <p:nvPr/>
        </p:nvSpPr>
        <p:spPr>
          <a:xfrm>
            <a:off x="3698543" y="250209"/>
            <a:ext cx="1906138" cy="3502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iggers</a:t>
            </a: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966ADBD2-220D-4B4F-BF4D-DF437D87DDF1}"/>
              </a:ext>
            </a:extLst>
          </p:cNvPr>
          <p:cNvSpPr/>
          <p:nvPr/>
        </p:nvSpPr>
        <p:spPr>
          <a:xfrm>
            <a:off x="6600967" y="250170"/>
            <a:ext cx="1906138" cy="3502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ipeline</a:t>
            </a: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FB179741-4689-4700-AEFD-7A47203FF518}"/>
              </a:ext>
            </a:extLst>
          </p:cNvPr>
          <p:cNvGrpSpPr/>
          <p:nvPr/>
        </p:nvGrpSpPr>
        <p:grpSpPr>
          <a:xfrm>
            <a:off x="1075762" y="1337314"/>
            <a:ext cx="1893617" cy="646331"/>
            <a:chOff x="254758" y="845992"/>
            <a:chExt cx="1893617" cy="646331"/>
          </a:xfrm>
        </p:grpSpPr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F9430C45-7344-4EAB-83B1-40F71D368441}"/>
                </a:ext>
              </a:extLst>
            </p:cNvPr>
            <p:cNvSpPr/>
            <p:nvPr/>
          </p:nvSpPr>
          <p:spPr>
            <a:xfrm>
              <a:off x="254758" y="868907"/>
              <a:ext cx="1874293" cy="600502"/>
            </a:xfrm>
            <a:prstGeom prst="rect">
              <a:avLst/>
            </a:prstGeom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P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0B5EBE73-2762-4A10-884F-DF791C133481}"/>
                </a:ext>
              </a:extLst>
            </p:cNvPr>
            <p:cNvSpPr txBox="1"/>
            <p:nvPr/>
          </p:nvSpPr>
          <p:spPr>
            <a:xfrm>
              <a:off x="274082" y="845992"/>
              <a:ext cx="1874293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torage Account: </a:t>
              </a:r>
              <a:r>
                <a:rPr kumimoji="0" lang="en-US" sz="12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xyzDEV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Container: input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Archivo</a:t>
              </a: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: abcd.txt</a:t>
              </a:r>
              <a:endParaRPr kumimoji="0" lang="es-P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D66E693B-B420-4EBC-89B6-F6CC15D461AE}"/>
              </a:ext>
            </a:extLst>
          </p:cNvPr>
          <p:cNvGrpSpPr/>
          <p:nvPr/>
        </p:nvGrpSpPr>
        <p:grpSpPr>
          <a:xfrm>
            <a:off x="1066099" y="2551964"/>
            <a:ext cx="1893617" cy="646331"/>
            <a:chOff x="254758" y="845992"/>
            <a:chExt cx="1893617" cy="646331"/>
          </a:xfrm>
        </p:grpSpPr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3B10DD45-E3FD-4A65-AB4B-EB3947FF2B80}"/>
                </a:ext>
              </a:extLst>
            </p:cNvPr>
            <p:cNvSpPr/>
            <p:nvPr/>
          </p:nvSpPr>
          <p:spPr>
            <a:xfrm>
              <a:off x="254758" y="868907"/>
              <a:ext cx="1874293" cy="600502"/>
            </a:xfrm>
            <a:prstGeom prst="rect">
              <a:avLst/>
            </a:prstGeom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P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C9A163E5-3476-4EA6-A2CC-5992477025DE}"/>
                </a:ext>
              </a:extLst>
            </p:cNvPr>
            <p:cNvSpPr txBox="1"/>
            <p:nvPr/>
          </p:nvSpPr>
          <p:spPr>
            <a:xfrm>
              <a:off x="274082" y="845992"/>
              <a:ext cx="1874293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torage Account: </a:t>
              </a:r>
              <a:r>
                <a:rPr kumimoji="0" lang="en-US" sz="12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xyzDEV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Container: input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Archivo</a:t>
              </a: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: efgh.txt</a:t>
              </a:r>
              <a:endParaRPr kumimoji="0" lang="es-P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D786CAEC-4617-4A0B-BD5A-F6294EC67765}"/>
              </a:ext>
            </a:extLst>
          </p:cNvPr>
          <p:cNvGrpSpPr/>
          <p:nvPr/>
        </p:nvGrpSpPr>
        <p:grpSpPr>
          <a:xfrm>
            <a:off x="1094181" y="3762232"/>
            <a:ext cx="1893617" cy="646331"/>
            <a:chOff x="254758" y="845992"/>
            <a:chExt cx="1893617" cy="646331"/>
          </a:xfrm>
        </p:grpSpPr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215C2B8E-BB5A-4018-ABB4-B76F386BB429}"/>
                </a:ext>
              </a:extLst>
            </p:cNvPr>
            <p:cNvSpPr/>
            <p:nvPr/>
          </p:nvSpPr>
          <p:spPr>
            <a:xfrm>
              <a:off x="254758" y="868907"/>
              <a:ext cx="1874293" cy="600502"/>
            </a:xfrm>
            <a:prstGeom prst="rect">
              <a:avLst/>
            </a:prstGeom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P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EAD9E499-3044-4B9C-B42F-879A64295240}"/>
                </a:ext>
              </a:extLst>
            </p:cNvPr>
            <p:cNvSpPr txBox="1"/>
            <p:nvPr/>
          </p:nvSpPr>
          <p:spPr>
            <a:xfrm>
              <a:off x="274082" y="845992"/>
              <a:ext cx="1874293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torage Account: </a:t>
              </a:r>
              <a:r>
                <a:rPr kumimoji="0" lang="en-US" sz="12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xyzDEV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Container: input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Archivo</a:t>
              </a: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: ijkl.txt</a:t>
              </a:r>
              <a:endParaRPr kumimoji="0" lang="es-P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DB968B01-5852-433D-ACF7-4E937D33AECF}"/>
              </a:ext>
            </a:extLst>
          </p:cNvPr>
          <p:cNvGrpSpPr/>
          <p:nvPr/>
        </p:nvGrpSpPr>
        <p:grpSpPr>
          <a:xfrm>
            <a:off x="1103842" y="4981266"/>
            <a:ext cx="1893617" cy="646331"/>
            <a:chOff x="254758" y="845992"/>
            <a:chExt cx="1893617" cy="646331"/>
          </a:xfrm>
        </p:grpSpPr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9EB3EEBE-EE87-4B30-BBD4-CADD95C36448}"/>
                </a:ext>
              </a:extLst>
            </p:cNvPr>
            <p:cNvSpPr/>
            <p:nvPr/>
          </p:nvSpPr>
          <p:spPr>
            <a:xfrm>
              <a:off x="254758" y="868907"/>
              <a:ext cx="1874293" cy="600502"/>
            </a:xfrm>
            <a:prstGeom prst="rect">
              <a:avLst/>
            </a:prstGeom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P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3AF6217B-DE16-43A6-9106-BD490513A4AD}"/>
                </a:ext>
              </a:extLst>
            </p:cNvPr>
            <p:cNvSpPr txBox="1"/>
            <p:nvPr/>
          </p:nvSpPr>
          <p:spPr>
            <a:xfrm>
              <a:off x="274082" y="845992"/>
              <a:ext cx="1874293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torage Account: </a:t>
              </a:r>
              <a:r>
                <a:rPr kumimoji="0" lang="en-US" sz="12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xyzDEV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Container: input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Archivo</a:t>
              </a: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: mnop.txt</a:t>
              </a:r>
              <a:endParaRPr kumimoji="0" lang="es-P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74" name="Group 73">
            <a:extLst>
              <a:ext uri="{FF2B5EF4-FFF2-40B4-BE49-F238E27FC236}">
                <a16:creationId xmlns:a16="http://schemas.microsoft.com/office/drawing/2014/main" id="{68C79684-0F86-4699-82EF-1F6467E56B59}"/>
              </a:ext>
            </a:extLst>
          </p:cNvPr>
          <p:cNvGrpSpPr/>
          <p:nvPr/>
        </p:nvGrpSpPr>
        <p:grpSpPr>
          <a:xfrm>
            <a:off x="823415" y="627877"/>
            <a:ext cx="3757684" cy="1702986"/>
            <a:chOff x="823415" y="573286"/>
            <a:chExt cx="3757684" cy="1702986"/>
          </a:xfrm>
        </p:grpSpPr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BD19D1DC-7958-4AA1-A20B-9FF09C259CEB}"/>
                </a:ext>
              </a:extLst>
            </p:cNvPr>
            <p:cNvSpPr/>
            <p:nvPr/>
          </p:nvSpPr>
          <p:spPr>
            <a:xfrm>
              <a:off x="823415" y="893634"/>
              <a:ext cx="3757684" cy="1382638"/>
            </a:xfrm>
            <a:prstGeom prst="ellipse">
              <a:avLst/>
            </a:prstGeom>
            <a:noFill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P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A1EFD4E1-627B-4A78-876A-A169CC5E178B}"/>
                </a:ext>
              </a:extLst>
            </p:cNvPr>
            <p:cNvSpPr txBox="1"/>
            <p:nvPr/>
          </p:nvSpPr>
          <p:spPr>
            <a:xfrm>
              <a:off x="1922941" y="573286"/>
              <a:ext cx="77931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aram</a:t>
              </a:r>
              <a:endParaRPr kumimoji="0" lang="es-P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75" name="Group 74">
            <a:extLst>
              <a:ext uri="{FF2B5EF4-FFF2-40B4-BE49-F238E27FC236}">
                <a16:creationId xmlns:a16="http://schemas.microsoft.com/office/drawing/2014/main" id="{0C7A35E6-BE54-44DB-A911-1D6FA63A53D5}"/>
              </a:ext>
            </a:extLst>
          </p:cNvPr>
          <p:cNvGrpSpPr/>
          <p:nvPr/>
        </p:nvGrpSpPr>
        <p:grpSpPr>
          <a:xfrm>
            <a:off x="3332049" y="1679946"/>
            <a:ext cx="5285469" cy="1576308"/>
            <a:chOff x="3332049" y="1625355"/>
            <a:chExt cx="5285469" cy="1576308"/>
          </a:xfrm>
        </p:grpSpPr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F3F91884-8D91-4052-AF98-09BF9A69BE7D}"/>
                </a:ext>
              </a:extLst>
            </p:cNvPr>
            <p:cNvSpPr/>
            <p:nvPr/>
          </p:nvSpPr>
          <p:spPr>
            <a:xfrm rot="1466499">
              <a:off x="3332049" y="1675797"/>
              <a:ext cx="5285469" cy="1525866"/>
            </a:xfrm>
            <a:prstGeom prst="ellipse">
              <a:avLst/>
            </a:prstGeom>
            <a:noFill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P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2BFC45BC-5FBF-4131-B600-2D4BCA82A67B}"/>
                </a:ext>
              </a:extLst>
            </p:cNvPr>
            <p:cNvSpPr txBox="1"/>
            <p:nvPr/>
          </p:nvSpPr>
          <p:spPr>
            <a:xfrm>
              <a:off x="6183295" y="1625355"/>
              <a:ext cx="77931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aram</a:t>
              </a:r>
              <a:endParaRPr kumimoji="0" lang="es-P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77" name="Group 76">
            <a:extLst>
              <a:ext uri="{FF2B5EF4-FFF2-40B4-BE49-F238E27FC236}">
                <a16:creationId xmlns:a16="http://schemas.microsoft.com/office/drawing/2014/main" id="{9B2F80DC-9E69-4281-85AF-29D9762018F2}"/>
              </a:ext>
            </a:extLst>
          </p:cNvPr>
          <p:cNvGrpSpPr/>
          <p:nvPr/>
        </p:nvGrpSpPr>
        <p:grpSpPr>
          <a:xfrm>
            <a:off x="3466566" y="2315016"/>
            <a:ext cx="5258869" cy="1726699"/>
            <a:chOff x="3466566" y="2260425"/>
            <a:chExt cx="5258869" cy="1726699"/>
          </a:xfrm>
        </p:grpSpPr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A6F432D7-5640-4922-8C2D-86F6A75B0A3E}"/>
                </a:ext>
              </a:extLst>
            </p:cNvPr>
            <p:cNvSpPr/>
            <p:nvPr/>
          </p:nvSpPr>
          <p:spPr>
            <a:xfrm rot="853732">
              <a:off x="3466566" y="2461258"/>
              <a:ext cx="5258869" cy="1525866"/>
            </a:xfrm>
            <a:prstGeom prst="ellipse">
              <a:avLst/>
            </a:prstGeom>
            <a:noFill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P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E6117315-77AC-4C9D-AF6C-0730826FED2F}"/>
                </a:ext>
              </a:extLst>
            </p:cNvPr>
            <p:cNvSpPr txBox="1"/>
            <p:nvPr/>
          </p:nvSpPr>
          <p:spPr>
            <a:xfrm>
              <a:off x="5791363" y="2260425"/>
              <a:ext cx="77931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aram</a:t>
              </a:r>
              <a:endParaRPr kumimoji="0" lang="es-P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76" name="Group 75">
            <a:extLst>
              <a:ext uri="{FF2B5EF4-FFF2-40B4-BE49-F238E27FC236}">
                <a16:creationId xmlns:a16="http://schemas.microsoft.com/office/drawing/2014/main" id="{FE127B45-1107-43BB-80AD-FA5C48A1D4C0}"/>
              </a:ext>
            </a:extLst>
          </p:cNvPr>
          <p:cNvGrpSpPr/>
          <p:nvPr/>
        </p:nvGrpSpPr>
        <p:grpSpPr>
          <a:xfrm>
            <a:off x="827965" y="2201243"/>
            <a:ext cx="3757684" cy="1382638"/>
            <a:chOff x="827965" y="2146652"/>
            <a:chExt cx="3757684" cy="1382638"/>
          </a:xfrm>
        </p:grpSpPr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42C1DD91-7160-4F83-834C-888C1EEB9178}"/>
                </a:ext>
              </a:extLst>
            </p:cNvPr>
            <p:cNvSpPr/>
            <p:nvPr/>
          </p:nvSpPr>
          <p:spPr>
            <a:xfrm>
              <a:off x="827965" y="2146652"/>
              <a:ext cx="3757684" cy="1382638"/>
            </a:xfrm>
            <a:prstGeom prst="ellipse">
              <a:avLst/>
            </a:prstGeom>
            <a:noFill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P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EE15A059-17B0-40D6-B934-320EB287E18F}"/>
                </a:ext>
              </a:extLst>
            </p:cNvPr>
            <p:cNvSpPr txBox="1"/>
            <p:nvPr/>
          </p:nvSpPr>
          <p:spPr>
            <a:xfrm>
              <a:off x="872897" y="2150155"/>
              <a:ext cx="77931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aram</a:t>
              </a:r>
              <a:endParaRPr kumimoji="0" lang="es-P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78" name="Group 77">
            <a:extLst>
              <a:ext uri="{FF2B5EF4-FFF2-40B4-BE49-F238E27FC236}">
                <a16:creationId xmlns:a16="http://schemas.microsoft.com/office/drawing/2014/main" id="{1BF56E69-CE5A-4518-872C-F0AE77C62682}"/>
              </a:ext>
            </a:extLst>
          </p:cNvPr>
          <p:cNvGrpSpPr/>
          <p:nvPr/>
        </p:nvGrpSpPr>
        <p:grpSpPr>
          <a:xfrm>
            <a:off x="823415" y="3409544"/>
            <a:ext cx="3757684" cy="1382638"/>
            <a:chOff x="823415" y="3354953"/>
            <a:chExt cx="3757684" cy="1382638"/>
          </a:xfrm>
        </p:grpSpPr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E4DC38A1-6811-4A05-93CA-9C62759E2267}"/>
                </a:ext>
              </a:extLst>
            </p:cNvPr>
            <p:cNvSpPr/>
            <p:nvPr/>
          </p:nvSpPr>
          <p:spPr>
            <a:xfrm>
              <a:off x="823415" y="3354953"/>
              <a:ext cx="3757684" cy="1382638"/>
            </a:xfrm>
            <a:prstGeom prst="ellipse">
              <a:avLst/>
            </a:prstGeom>
            <a:noFill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P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F57FAB29-A2D9-4888-9DE5-B3984F7E7F80}"/>
                </a:ext>
              </a:extLst>
            </p:cNvPr>
            <p:cNvSpPr txBox="1"/>
            <p:nvPr/>
          </p:nvSpPr>
          <p:spPr>
            <a:xfrm>
              <a:off x="904185" y="3363551"/>
              <a:ext cx="77931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aram</a:t>
              </a:r>
              <a:endParaRPr kumimoji="0" lang="es-P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80" name="Group 79">
            <a:extLst>
              <a:ext uri="{FF2B5EF4-FFF2-40B4-BE49-F238E27FC236}">
                <a16:creationId xmlns:a16="http://schemas.microsoft.com/office/drawing/2014/main" id="{56945973-FBF9-46B1-A4B3-36E5648F328D}"/>
              </a:ext>
            </a:extLst>
          </p:cNvPr>
          <p:cNvGrpSpPr/>
          <p:nvPr/>
        </p:nvGrpSpPr>
        <p:grpSpPr>
          <a:xfrm>
            <a:off x="823415" y="4623392"/>
            <a:ext cx="3757684" cy="1397312"/>
            <a:chOff x="823415" y="4568801"/>
            <a:chExt cx="3757684" cy="1397312"/>
          </a:xfrm>
        </p:grpSpPr>
        <p:sp>
          <p:nvSpPr>
            <p:cNvPr id="54" name="Oval 53">
              <a:extLst>
                <a:ext uri="{FF2B5EF4-FFF2-40B4-BE49-F238E27FC236}">
                  <a16:creationId xmlns:a16="http://schemas.microsoft.com/office/drawing/2014/main" id="{C8B457D3-CD42-4AD7-B9D0-8273A5CD7FCC}"/>
                </a:ext>
              </a:extLst>
            </p:cNvPr>
            <p:cNvSpPr/>
            <p:nvPr/>
          </p:nvSpPr>
          <p:spPr>
            <a:xfrm>
              <a:off x="823415" y="4583475"/>
              <a:ext cx="3757684" cy="1382638"/>
            </a:xfrm>
            <a:prstGeom prst="ellipse">
              <a:avLst/>
            </a:prstGeom>
            <a:noFill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P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7FA85969-6BE6-4E72-A213-BA9C4CF974D3}"/>
                </a:ext>
              </a:extLst>
            </p:cNvPr>
            <p:cNvSpPr txBox="1"/>
            <p:nvPr/>
          </p:nvSpPr>
          <p:spPr>
            <a:xfrm>
              <a:off x="872897" y="4568801"/>
              <a:ext cx="77931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aram</a:t>
              </a:r>
              <a:endParaRPr kumimoji="0" lang="es-P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82" name="Group 81">
            <a:extLst>
              <a:ext uri="{FF2B5EF4-FFF2-40B4-BE49-F238E27FC236}">
                <a16:creationId xmlns:a16="http://schemas.microsoft.com/office/drawing/2014/main" id="{8564258E-2384-4448-84AF-12F88DAC32AF}"/>
              </a:ext>
            </a:extLst>
          </p:cNvPr>
          <p:cNvGrpSpPr/>
          <p:nvPr/>
        </p:nvGrpSpPr>
        <p:grpSpPr>
          <a:xfrm>
            <a:off x="3329543" y="3640768"/>
            <a:ext cx="5258869" cy="1528980"/>
            <a:chOff x="3329543" y="3586177"/>
            <a:chExt cx="5258869" cy="1528980"/>
          </a:xfrm>
        </p:grpSpPr>
        <p:sp>
          <p:nvSpPr>
            <p:cNvPr id="56" name="Oval 55">
              <a:extLst>
                <a:ext uri="{FF2B5EF4-FFF2-40B4-BE49-F238E27FC236}">
                  <a16:creationId xmlns:a16="http://schemas.microsoft.com/office/drawing/2014/main" id="{DE549BDB-CCAF-4CB8-93AA-027DB1015DE3}"/>
                </a:ext>
              </a:extLst>
            </p:cNvPr>
            <p:cNvSpPr/>
            <p:nvPr/>
          </p:nvSpPr>
          <p:spPr>
            <a:xfrm rot="19927783">
              <a:off x="3329543" y="3586177"/>
              <a:ext cx="5258869" cy="1525866"/>
            </a:xfrm>
            <a:prstGeom prst="ellipse">
              <a:avLst/>
            </a:prstGeom>
            <a:noFill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P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F2509B14-6AB8-436B-9BAE-CFD82EED0166}"/>
                </a:ext>
              </a:extLst>
            </p:cNvPr>
            <p:cNvSpPr txBox="1"/>
            <p:nvPr/>
          </p:nvSpPr>
          <p:spPr>
            <a:xfrm>
              <a:off x="6067116" y="4745825"/>
              <a:ext cx="77931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aram</a:t>
              </a:r>
              <a:endParaRPr kumimoji="0" lang="es-P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79" name="Group 78">
            <a:extLst>
              <a:ext uri="{FF2B5EF4-FFF2-40B4-BE49-F238E27FC236}">
                <a16:creationId xmlns:a16="http://schemas.microsoft.com/office/drawing/2014/main" id="{555A1B05-4B45-42B6-BA30-51C45187B393}"/>
              </a:ext>
            </a:extLst>
          </p:cNvPr>
          <p:cNvGrpSpPr/>
          <p:nvPr/>
        </p:nvGrpSpPr>
        <p:grpSpPr>
          <a:xfrm>
            <a:off x="3437682" y="3053667"/>
            <a:ext cx="5258869" cy="1539390"/>
            <a:chOff x="3437682" y="2999076"/>
            <a:chExt cx="5258869" cy="1539390"/>
          </a:xfrm>
        </p:grpSpPr>
        <p:sp>
          <p:nvSpPr>
            <p:cNvPr id="52" name="Oval 51">
              <a:extLst>
                <a:ext uri="{FF2B5EF4-FFF2-40B4-BE49-F238E27FC236}">
                  <a16:creationId xmlns:a16="http://schemas.microsoft.com/office/drawing/2014/main" id="{3C9D5E4B-BFC2-418F-92C4-D5A3547FB886}"/>
                </a:ext>
              </a:extLst>
            </p:cNvPr>
            <p:cNvSpPr/>
            <p:nvPr/>
          </p:nvSpPr>
          <p:spPr>
            <a:xfrm rot="21142556">
              <a:off x="3437682" y="3012600"/>
              <a:ext cx="5258869" cy="1525866"/>
            </a:xfrm>
            <a:prstGeom prst="ellipse">
              <a:avLst/>
            </a:prstGeom>
            <a:noFill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P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E959779A-C75B-42A0-8350-5D737C3A2C99}"/>
                </a:ext>
              </a:extLst>
            </p:cNvPr>
            <p:cNvSpPr txBox="1"/>
            <p:nvPr/>
          </p:nvSpPr>
          <p:spPr>
            <a:xfrm>
              <a:off x="4635839" y="2999076"/>
              <a:ext cx="77931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aram</a:t>
              </a:r>
              <a:endParaRPr kumimoji="0" lang="es-P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84" name="Rectangle 83">
            <a:extLst>
              <a:ext uri="{FF2B5EF4-FFF2-40B4-BE49-F238E27FC236}">
                <a16:creationId xmlns:a16="http://schemas.microsoft.com/office/drawing/2014/main" id="{FE5096C6-94AD-4468-A926-F8A796F1440C}"/>
              </a:ext>
            </a:extLst>
          </p:cNvPr>
          <p:cNvSpPr/>
          <p:nvPr/>
        </p:nvSpPr>
        <p:spPr>
          <a:xfrm>
            <a:off x="9551158" y="250170"/>
            <a:ext cx="1906138" cy="3502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RM Template Parameters</a:t>
            </a:r>
            <a:endParaRPr kumimoji="0" lang="es-PE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8BF4471E-A76A-4D10-AA89-625E1A9609B5}"/>
              </a:ext>
            </a:extLst>
          </p:cNvPr>
          <p:cNvSpPr txBox="1"/>
          <p:nvPr/>
        </p:nvSpPr>
        <p:spPr>
          <a:xfrm>
            <a:off x="8980575" y="948225"/>
            <a:ext cx="3047304" cy="54476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"</a:t>
            </a:r>
            <a:r>
              <a:rPr kumimoji="0" lang="es-PE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icrosoft.DataFactory</a:t>
            </a:r>
            <a:r>
              <a:rPr kumimoji="0" lang="es-PE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/</a:t>
            </a:r>
            <a:r>
              <a:rPr kumimoji="0" lang="es-PE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actories</a:t>
            </a:r>
            <a:r>
              <a:rPr kumimoji="0" lang="es-PE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/</a:t>
            </a:r>
            <a:r>
              <a:rPr kumimoji="0" lang="es-PE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iggers</a:t>
            </a:r>
            <a:r>
              <a:rPr kumimoji="0" lang="es-PE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": {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     "</a:t>
            </a:r>
            <a:r>
              <a:rPr kumimoji="0" lang="es-PE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perties</a:t>
            </a:r>
            <a:r>
              <a:rPr kumimoji="0" lang="es-PE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": {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         "pipelines": [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             {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                 "</a:t>
            </a:r>
            <a:r>
              <a:rPr kumimoji="0" lang="es-PE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rameters</a:t>
            </a:r>
            <a:r>
              <a:rPr kumimoji="0" lang="es-PE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": {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                     "*": "="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                 }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             }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             "</a:t>
            </a:r>
            <a:r>
              <a:rPr kumimoji="0" lang="es-PE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ipelineReference.referenceName</a:t>
            </a:r>
            <a:r>
              <a:rPr kumimoji="0" lang="es-PE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"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         ]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         "pipeline": {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             "</a:t>
            </a:r>
            <a:r>
              <a:rPr kumimoji="0" lang="es-PE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rameters</a:t>
            </a:r>
            <a:r>
              <a:rPr kumimoji="0" lang="es-PE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": {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                 "*": "="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             }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         }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         "</a:t>
            </a:r>
            <a:r>
              <a:rPr kumimoji="0" lang="es-PE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ypeProperties</a:t>
            </a:r>
            <a:r>
              <a:rPr kumimoji="0" lang="es-PE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": {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             "</a:t>
            </a:r>
            <a:r>
              <a:rPr kumimoji="0" lang="es-PE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ope</a:t>
            </a:r>
            <a:r>
              <a:rPr kumimoji="0" lang="es-PE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": "="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         }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     }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 }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7" name="Right Brace 86">
            <a:extLst>
              <a:ext uri="{FF2B5EF4-FFF2-40B4-BE49-F238E27FC236}">
                <a16:creationId xmlns:a16="http://schemas.microsoft.com/office/drawing/2014/main" id="{4B71692A-AC6B-4F29-9447-D3FAFEAF750A}"/>
              </a:ext>
            </a:extLst>
          </p:cNvPr>
          <p:cNvSpPr/>
          <p:nvPr/>
        </p:nvSpPr>
        <p:spPr>
          <a:xfrm>
            <a:off x="8494535" y="762027"/>
            <a:ext cx="623773" cy="563652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430C1C06-7367-4E08-90BC-D665C0A8FC1F}"/>
              </a:ext>
            </a:extLst>
          </p:cNvPr>
          <p:cNvGrpSpPr/>
          <p:nvPr/>
        </p:nvGrpSpPr>
        <p:grpSpPr>
          <a:xfrm>
            <a:off x="6774328" y="4054616"/>
            <a:ext cx="1469408" cy="896204"/>
            <a:chOff x="6498082" y="5871911"/>
            <a:chExt cx="1469408" cy="896204"/>
          </a:xfrm>
        </p:grpSpPr>
        <p:sp>
          <p:nvSpPr>
            <p:cNvPr id="5" name="Rectangle: Rounded Corners 4">
              <a:extLst>
                <a:ext uri="{FF2B5EF4-FFF2-40B4-BE49-F238E27FC236}">
                  <a16:creationId xmlns:a16="http://schemas.microsoft.com/office/drawing/2014/main" id="{DE4527E5-DD83-41B3-B82A-DD12429E9709}"/>
                </a:ext>
              </a:extLst>
            </p:cNvPr>
            <p:cNvSpPr/>
            <p:nvPr/>
          </p:nvSpPr>
          <p:spPr>
            <a:xfrm>
              <a:off x="6520690" y="5871911"/>
              <a:ext cx="1313125" cy="896204"/>
            </a:xfrm>
            <a:prstGeom prst="roundRect">
              <a:avLst/>
            </a:prstGeom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P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54DE62F4-8678-46FA-BF6E-38E1F1E96FC2}"/>
                </a:ext>
              </a:extLst>
            </p:cNvPr>
            <p:cNvSpPr txBox="1"/>
            <p:nvPr/>
          </p:nvSpPr>
          <p:spPr>
            <a:xfrm>
              <a:off x="6498082" y="5884553"/>
              <a:ext cx="1469408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Variable: 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1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ilename=</a:t>
              </a:r>
              <a:r>
                <a:rPr kumimoji="0" lang="en-US" sz="1200" b="0" i="1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ombre</a:t>
              </a:r>
              <a:r>
                <a:rPr kumimoji="0" lang="en-US" sz="1200" b="0" i="1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del archive </a:t>
              </a:r>
              <a:r>
                <a:rPr kumimoji="0" lang="en-US" sz="1200" b="0" i="1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ecibido</a:t>
              </a:r>
              <a:r>
                <a:rPr kumimoji="0" lang="en-US" sz="1200" b="0" i="1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</a:t>
              </a:r>
              <a:r>
                <a:rPr kumimoji="0" lang="en-US" sz="1200" b="0" i="1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or</a:t>
              </a:r>
              <a:r>
                <a:rPr kumimoji="0" lang="en-US" sz="1200" b="0" i="1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</a:t>
              </a:r>
              <a:r>
                <a:rPr kumimoji="0" lang="en-US" sz="1200" b="0" i="1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el</a:t>
              </a:r>
              <a:r>
                <a:rPr kumimoji="0" lang="en-US" sz="1200" b="0" i="1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trigger</a:t>
              </a:r>
              <a:endParaRPr kumimoji="0" lang="es-PE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3" name="Rectangle 12">
            <a:extLst>
              <a:ext uri="{FF2B5EF4-FFF2-40B4-BE49-F238E27FC236}">
                <a16:creationId xmlns:a16="http://schemas.microsoft.com/office/drawing/2014/main" id="{5E61392D-F4AA-40C9-AC64-20384F84E720}"/>
              </a:ext>
            </a:extLst>
          </p:cNvPr>
          <p:cNvSpPr/>
          <p:nvPr/>
        </p:nvSpPr>
        <p:spPr>
          <a:xfrm>
            <a:off x="10131438" y="5002766"/>
            <a:ext cx="1906138" cy="625395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 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upera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l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ímite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e 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rámetros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rmitidos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(256)</a:t>
            </a:r>
            <a:endParaRPr kumimoji="0" lang="es-PE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280C2E7-6CEB-404F-9E53-7CC30B69D365}"/>
              </a:ext>
            </a:extLst>
          </p:cNvPr>
          <p:cNvSpPr/>
          <p:nvPr/>
        </p:nvSpPr>
        <p:spPr>
          <a:xfrm>
            <a:off x="10131438" y="5681931"/>
            <a:ext cx="1906138" cy="1093678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quiere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</a:p>
          <a:p>
            <a:pPr marL="171450" marR="0" lvl="0" indent="-17145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fini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variables (Dev)</a:t>
            </a:r>
          </a:p>
          <a:p>
            <a:pPr marL="171450" marR="0" lvl="0" indent="-17145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limina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triggers (Dev)</a:t>
            </a:r>
          </a:p>
          <a:p>
            <a:pPr marL="171450" marR="0" lvl="0" indent="-17145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fini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alores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el SA (DevOps)</a:t>
            </a:r>
            <a:endParaRPr kumimoji="0" lang="es-P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90072D04-1E86-42EA-A900-0C9A2A983FFA}"/>
              </a:ext>
            </a:extLst>
          </p:cNvPr>
          <p:cNvGrpSpPr/>
          <p:nvPr/>
        </p:nvGrpSpPr>
        <p:grpSpPr>
          <a:xfrm>
            <a:off x="5025497" y="6395870"/>
            <a:ext cx="2081614" cy="394955"/>
            <a:chOff x="5025497" y="6395870"/>
            <a:chExt cx="2081614" cy="394955"/>
          </a:xfrm>
        </p:grpSpPr>
        <p:sp>
          <p:nvSpPr>
            <p:cNvPr id="15" name="Star: 5 Points 14">
              <a:extLst>
                <a:ext uri="{FF2B5EF4-FFF2-40B4-BE49-F238E27FC236}">
                  <a16:creationId xmlns:a16="http://schemas.microsoft.com/office/drawing/2014/main" id="{256E2258-3C60-4F49-B0C5-2F135553FD56}"/>
                </a:ext>
              </a:extLst>
            </p:cNvPr>
            <p:cNvSpPr/>
            <p:nvPr/>
          </p:nvSpPr>
          <p:spPr>
            <a:xfrm>
              <a:off x="5025497" y="6395870"/>
              <a:ext cx="389658" cy="359559"/>
            </a:xfrm>
            <a:prstGeom prst="star5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P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B5899D27-F8BA-44D1-B0D9-61C5102D7F4B}"/>
                </a:ext>
              </a:extLst>
            </p:cNvPr>
            <p:cNvSpPr txBox="1"/>
            <p:nvPr/>
          </p:nvSpPr>
          <p:spPr>
            <a:xfrm>
              <a:off x="5392043" y="6421493"/>
              <a:ext cx="171506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ecomendada</a:t>
              </a:r>
              <a:endParaRPr kumimoji="0" lang="es-P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246564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2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0" dur="500" tmFilter="0, 0; .2, .5; .8, .5; 1, 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51" dur="250" autoRev="1" fill="hold"/>
                                        <p:tgtEl>
                                          <p:spTgt spid="8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>
                      <p:stCondLst>
                        <p:cond delay="indefinite"/>
                      </p:stCondLst>
                      <p:childTnLst>
                        <p:par>
                          <p:cTn id="53" fill="hold">
                            <p:stCondLst>
                              <p:cond delay="0"/>
                            </p:stCondLst>
                            <p:childTnLst>
                              <p:par>
                                <p:cTn id="54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8" grpId="0" animBg="1"/>
      <p:bldP spid="10" grpId="0" animBg="1"/>
      <p:bldP spid="11" grpId="0"/>
      <p:bldP spid="86" grpId="0"/>
      <p:bldP spid="13" grpId="0" animBg="1"/>
      <p:bldP spid="14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Documentació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158343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366ADD9-A38A-4611-A51C-34764752A05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9240" y="1345720"/>
            <a:ext cx="11653523" cy="2853089"/>
          </a:xfrm>
        </p:spPr>
        <p:txBody>
          <a:bodyPr/>
          <a:lstStyle/>
          <a:p>
            <a:pPr algn="l">
              <a:buFont typeface="Arial" panose="020B0604020202020204" pitchFamily="34" charset="0"/>
              <a:buChar char="•"/>
            </a:pPr>
            <a:r>
              <a:rPr lang="en-US" sz="2000" b="0" i="0" dirty="0">
                <a:solidFill>
                  <a:srgbClr val="171717"/>
                </a:solidFill>
                <a:effectLst/>
                <a:latin typeface="Segoe UI" panose="020B0502040204020203" pitchFamily="34" charset="0"/>
              </a:rPr>
              <a:t>Your factory is so large that the default Resource Manager template is invalid because it has more than the maximum allowed parameters (256)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2000" b="0" i="0" dirty="0">
                <a:solidFill>
                  <a:srgbClr val="171717"/>
                </a:solidFill>
                <a:effectLst/>
                <a:latin typeface="Segoe UI" panose="020B0502040204020203" pitchFamily="34" charset="0"/>
              </a:rPr>
              <a:t>To handle custom parameter 256 limit, there are three options: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en-US" sz="1400" b="0" i="0" dirty="0">
                <a:solidFill>
                  <a:srgbClr val="171717"/>
                </a:solidFill>
                <a:effectLst/>
                <a:latin typeface="Segoe UI" panose="020B0502040204020203" pitchFamily="34" charset="0"/>
              </a:rPr>
              <a:t>Use the custom parameter file and remove properties that don't need parameterization, i.e., properties that can keep a default value and hence decrease the parameter count.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en-US" sz="1400" b="0" i="0" dirty="0">
                <a:solidFill>
                  <a:srgbClr val="171717"/>
                </a:solidFill>
                <a:effectLst/>
                <a:latin typeface="Segoe UI" panose="020B0502040204020203" pitchFamily="34" charset="0"/>
              </a:rPr>
              <a:t>Refactor logic in the dataflow to reduce parameters, for example, pipeline parameters all have the same value, you can just use global parameters instead.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en-US" sz="1400" b="0" i="0" dirty="0">
                <a:solidFill>
                  <a:srgbClr val="171717"/>
                </a:solidFill>
                <a:effectLst/>
                <a:latin typeface="Segoe UI" panose="020B0502040204020203" pitchFamily="34" charset="0"/>
              </a:rPr>
              <a:t>Split one data factory into multiple data flows.</a:t>
            </a:r>
          </a:p>
          <a:p>
            <a:pPr marL="0" indent="0">
              <a:buNone/>
            </a:pPr>
            <a:endParaRPr lang="es-PE" sz="2000" dirty="0"/>
          </a:p>
          <a:p>
            <a:pPr marL="0" indent="0">
              <a:buNone/>
            </a:pPr>
            <a:r>
              <a:rPr lang="es-PE" sz="2000" dirty="0">
                <a:solidFill>
                  <a:srgbClr val="171717"/>
                </a:solidFill>
                <a:latin typeface="Segoe UI" panose="020B0502040204020203" pitchFamily="34" charset="0"/>
              </a:rPr>
              <a:t>Link: </a:t>
            </a:r>
            <a:r>
              <a:rPr lang="es-PE" sz="1800" dirty="0" err="1">
                <a:hlinkClick r:id="rId2"/>
              </a:rPr>
              <a:t>Custom</a:t>
            </a:r>
            <a:r>
              <a:rPr lang="es-PE" sz="1800" dirty="0">
                <a:hlinkClick r:id="rId2"/>
              </a:rPr>
              <a:t> </a:t>
            </a:r>
            <a:r>
              <a:rPr lang="es-PE" sz="1800" dirty="0" err="1">
                <a:hlinkClick r:id="rId2"/>
              </a:rPr>
              <a:t>parameters</a:t>
            </a:r>
            <a:r>
              <a:rPr lang="es-PE" sz="1800" dirty="0">
                <a:hlinkClick r:id="rId2"/>
              </a:rPr>
              <a:t> in a </a:t>
            </a:r>
            <a:r>
              <a:rPr lang="es-PE" sz="1800" dirty="0" err="1">
                <a:hlinkClick r:id="rId2"/>
              </a:rPr>
              <a:t>Resource</a:t>
            </a:r>
            <a:r>
              <a:rPr lang="es-PE" sz="1800" dirty="0">
                <a:hlinkClick r:id="rId2"/>
              </a:rPr>
              <a:t> Manager </a:t>
            </a:r>
            <a:r>
              <a:rPr lang="es-PE" sz="1800" dirty="0" err="1">
                <a:hlinkClick r:id="rId2"/>
              </a:rPr>
              <a:t>template</a:t>
            </a:r>
            <a:r>
              <a:rPr lang="es-PE" sz="1800" dirty="0">
                <a:hlinkClick r:id="rId2"/>
              </a:rPr>
              <a:t> - Azure Data Factory | Microsoft </a:t>
            </a:r>
            <a:r>
              <a:rPr lang="es-PE" sz="1800" dirty="0" err="1">
                <a:hlinkClick r:id="rId2"/>
              </a:rPr>
              <a:t>Docs</a:t>
            </a:r>
            <a:endParaRPr lang="es-PE" sz="200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DD5D076-BC56-4259-B3EA-22D95CECD5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rameter limitations</a:t>
            </a:r>
            <a:endParaRPr lang="es-PE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0A157AF-E85D-4BD9-A146-FAFC6B09302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8FEED8F-67A2-46EA-A24C-A41FAFDEBE62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86086479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366ADD9-A38A-4611-A51C-34764752A05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9240" y="1345720"/>
            <a:ext cx="11653523" cy="2246769"/>
          </a:xfrm>
        </p:spPr>
        <p:txBody>
          <a:bodyPr/>
          <a:lstStyle/>
          <a:p>
            <a:pPr marL="0" indent="0">
              <a:buNone/>
            </a:pP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The Storage Event Trigger currently supports only Azure Data Lake Storage Gen2 and General-purpose version 2 storage accounts. Due to an Azure Event Grid limitation, </a:t>
            </a:r>
            <a:r>
              <a:rPr lang="en-US" sz="2000" b="1" dirty="0">
                <a:solidFill>
                  <a:srgbClr val="171717"/>
                </a:solidFill>
                <a:latin typeface="Segoe UI" panose="020B0502040204020203" pitchFamily="34" charset="0"/>
              </a:rPr>
              <a:t>Azure Data Factory only supports a maximum of 500 storage event triggers per storage account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. If you hit the limit, please contact support for recommendations and increasing the limit upon evaluation by Event Grid team.</a:t>
            </a:r>
            <a:endParaRPr lang="es-PE" sz="2000" dirty="0">
              <a:solidFill>
                <a:srgbClr val="171717"/>
              </a:solidFill>
              <a:latin typeface="Segoe UI" panose="020B0502040204020203" pitchFamily="34" charset="0"/>
            </a:endParaRPr>
          </a:p>
          <a:p>
            <a:pPr marL="0" indent="0">
              <a:buNone/>
            </a:pPr>
            <a:endParaRPr lang="es-PE" sz="2000" dirty="0"/>
          </a:p>
          <a:p>
            <a:pPr marL="0" indent="0">
              <a:buNone/>
            </a:pPr>
            <a:r>
              <a:rPr lang="es-PE" sz="2000" dirty="0">
                <a:solidFill>
                  <a:srgbClr val="171717"/>
                </a:solidFill>
                <a:latin typeface="Segoe UI" panose="020B0502040204020203" pitchFamily="34" charset="0"/>
              </a:rPr>
              <a:t>Link: </a:t>
            </a:r>
            <a:r>
              <a:rPr lang="en-US" sz="2000" dirty="0">
                <a:hlinkClick r:id="rId2"/>
              </a:rPr>
              <a:t>Create event-based triggers - Azure Data Factory &amp; Azure Synapse | Microsoft Docs</a:t>
            </a:r>
            <a:endParaRPr lang="es-PE" sz="400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DD5D076-BC56-4259-B3EA-22D95CECD5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age Event Triggers limitations</a:t>
            </a:r>
            <a:endParaRPr lang="es-PE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0A157AF-E85D-4BD9-A146-FAFC6B09302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8FEED8F-67A2-46EA-A24C-A41FAFDEBE62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17780057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366ADD9-A38A-4611-A51C-34764752A05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9240" y="1345720"/>
            <a:ext cx="11653523" cy="1692771"/>
          </a:xfrm>
        </p:spPr>
        <p:txBody>
          <a:bodyPr/>
          <a:lstStyle/>
          <a:p>
            <a:pPr marL="0" indent="0">
              <a:buNone/>
            </a:pP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In </a:t>
            </a:r>
            <a:r>
              <a:rPr lang="en-US" sz="2000" b="1" dirty="0">
                <a:solidFill>
                  <a:srgbClr val="171717"/>
                </a:solidFill>
                <a:latin typeface="Segoe UI" panose="020B0502040204020203" pitchFamily="34" charset="0"/>
              </a:rPr>
              <a:t>Complete deployment mode, resources that exist in the resource group but aren't specified in the new Resource Manager template will be deleted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. For more information, please refer to Azure Resource Manager Deployment Modes.</a:t>
            </a:r>
          </a:p>
          <a:p>
            <a:pPr marL="0" indent="0">
              <a:buNone/>
            </a:pPr>
            <a:endParaRPr lang="es-PE" sz="2000" dirty="0"/>
          </a:p>
          <a:p>
            <a:pPr marL="0" indent="0">
              <a:buNone/>
            </a:pPr>
            <a:r>
              <a:rPr lang="es-PE" sz="2000" dirty="0">
                <a:solidFill>
                  <a:srgbClr val="171717"/>
                </a:solidFill>
                <a:latin typeface="Segoe UI" panose="020B0502040204020203" pitchFamily="34" charset="0"/>
              </a:rPr>
              <a:t>Link: </a:t>
            </a:r>
            <a:r>
              <a:rPr lang="es-PE" sz="2000" dirty="0" err="1">
                <a:hlinkClick r:id="rId2"/>
              </a:rPr>
              <a:t>Automate</a:t>
            </a:r>
            <a:r>
              <a:rPr lang="es-PE" sz="2000" dirty="0">
                <a:hlinkClick r:id="rId2"/>
              </a:rPr>
              <a:t> </a:t>
            </a:r>
            <a:r>
              <a:rPr lang="es-PE" sz="2000" dirty="0" err="1">
                <a:hlinkClick r:id="rId2"/>
              </a:rPr>
              <a:t>continuous</a:t>
            </a:r>
            <a:r>
              <a:rPr lang="es-PE" sz="2000" dirty="0">
                <a:hlinkClick r:id="rId2"/>
              </a:rPr>
              <a:t> </a:t>
            </a:r>
            <a:r>
              <a:rPr lang="es-PE" sz="2000" dirty="0" err="1">
                <a:hlinkClick r:id="rId2"/>
              </a:rPr>
              <a:t>integration</a:t>
            </a:r>
            <a:r>
              <a:rPr lang="es-PE" sz="2000" dirty="0">
                <a:hlinkClick r:id="rId2"/>
              </a:rPr>
              <a:t> - Azure Data Factory | Microsoft </a:t>
            </a:r>
            <a:r>
              <a:rPr lang="es-PE" sz="2000" dirty="0" err="1">
                <a:hlinkClick r:id="rId2"/>
              </a:rPr>
              <a:t>Docs</a:t>
            </a:r>
            <a:endParaRPr lang="es-PE" sz="660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DD5D076-BC56-4259-B3EA-22D95CECD5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Deployment (</a:t>
            </a:r>
            <a:r>
              <a:rPr lang="en-US" sz="4000" dirty="0"/>
              <a:t>DevOps release pipeline</a:t>
            </a:r>
            <a:r>
              <a:rPr lang="en-US" dirty="0"/>
              <a:t>)</a:t>
            </a:r>
            <a:endParaRPr lang="es-PE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0A157AF-E85D-4BD9-A146-FAFC6B09302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8FEED8F-67A2-46EA-A24C-A41FAFDEBE62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21207327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366ADD9-A38A-4611-A51C-34764752A05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9240" y="1345720"/>
            <a:ext cx="11653523" cy="2991588"/>
          </a:xfrm>
        </p:spPr>
        <p:txBody>
          <a:bodyPr/>
          <a:lstStyle/>
          <a:p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By design, Data Factory doesn't allow cherry-picking of commits or selective publishing of resources. </a:t>
            </a:r>
            <a:r>
              <a:rPr lang="en-US" sz="2000" b="1" dirty="0">
                <a:solidFill>
                  <a:srgbClr val="171717"/>
                </a:solidFill>
                <a:latin typeface="Segoe UI" panose="020B0502040204020203" pitchFamily="34" charset="0"/>
              </a:rPr>
              <a:t>Publishes will include all changes made in the data factory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.</a:t>
            </a:r>
          </a:p>
          <a:p>
            <a:r>
              <a:rPr lang="en-US" sz="2000" u="sng" dirty="0">
                <a:solidFill>
                  <a:srgbClr val="171717"/>
                </a:solidFill>
                <a:latin typeface="Segoe UI" panose="020B0502040204020203" pitchFamily="34" charset="0"/>
              </a:rPr>
              <a:t>Data factory entities depend on each other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. For example, triggers depend on pipelines, and pipelines depend on datasets and other pipelines. Selective publishing of a subset of resources could lead to unexpected behaviors and errors.</a:t>
            </a:r>
          </a:p>
          <a:p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On rare occasions </a:t>
            </a:r>
            <a:r>
              <a:rPr lang="en-US" sz="2000" u="sng" dirty="0">
                <a:solidFill>
                  <a:srgbClr val="171717"/>
                </a:solidFill>
                <a:latin typeface="Segoe UI" panose="020B0502040204020203" pitchFamily="34" charset="0"/>
              </a:rPr>
              <a:t>when you need selective publishing, consider using a hotfix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. For more information, see Hotfix production environment.</a:t>
            </a:r>
            <a:endParaRPr lang="es-PE" sz="2000" dirty="0">
              <a:solidFill>
                <a:srgbClr val="171717"/>
              </a:solidFill>
              <a:latin typeface="Segoe UI" panose="020B0502040204020203" pitchFamily="34" charset="0"/>
            </a:endParaRPr>
          </a:p>
          <a:p>
            <a:pPr marL="0" indent="0">
              <a:buNone/>
            </a:pPr>
            <a:endParaRPr lang="es-PE" sz="2000" dirty="0">
              <a:solidFill>
                <a:srgbClr val="171717"/>
              </a:solidFill>
              <a:latin typeface="Segoe UI" panose="020B0502040204020203" pitchFamily="34" charset="0"/>
            </a:endParaRPr>
          </a:p>
          <a:p>
            <a:pPr marL="0" indent="0">
              <a:buNone/>
            </a:pPr>
            <a:r>
              <a:rPr lang="es-PE" sz="2000" dirty="0">
                <a:solidFill>
                  <a:srgbClr val="171717"/>
                </a:solidFill>
                <a:latin typeface="Segoe UI" panose="020B0502040204020203" pitchFamily="34" charset="0"/>
              </a:rPr>
              <a:t>Link: </a:t>
            </a:r>
            <a:r>
              <a:rPr lang="en-US" sz="2000" dirty="0">
                <a:hlinkClick r:id="rId2"/>
              </a:rPr>
              <a:t>Continuous integration and delivery - Azure Data Factory | Microsoft Docs</a:t>
            </a:r>
            <a:endParaRPr lang="es-PE" sz="660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DD5D076-BC56-4259-B3EA-22D95CECD5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DataFactory</a:t>
            </a:r>
            <a:r>
              <a:rPr lang="en-US" dirty="0"/>
              <a:t> Publish</a:t>
            </a:r>
            <a:endParaRPr lang="es-PE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0A157AF-E85D-4BD9-A146-FAFC6B09302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8FEED8F-67A2-46EA-A24C-A41FAFDEBE62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76748703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366ADD9-A38A-4611-A51C-34764752A05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9240" y="1345720"/>
            <a:ext cx="11653523" cy="1138773"/>
          </a:xfrm>
        </p:spPr>
        <p:txBody>
          <a:bodyPr/>
          <a:lstStyle/>
          <a:p>
            <a:pPr marL="0" indent="0">
              <a:buNone/>
            </a:pPr>
            <a:r>
              <a:rPr lang="es-PE" sz="2000" dirty="0" err="1">
                <a:solidFill>
                  <a:srgbClr val="171717"/>
                </a:solidFill>
                <a:latin typeface="Segoe UI" panose="020B0502040204020203" pitchFamily="34" charset="0"/>
              </a:rPr>
              <a:t>Link:</a:t>
            </a:r>
            <a:r>
              <a:rPr lang="es-PE" sz="2000" dirty="0" err="1">
                <a:hlinkClick r:id="rId2"/>
              </a:rPr>
              <a:t>Module</a:t>
            </a:r>
            <a:r>
              <a:rPr lang="es-PE" sz="2000" dirty="0">
                <a:hlinkClick r:id="rId2"/>
              </a:rPr>
              <a:t> 3 - </a:t>
            </a:r>
            <a:r>
              <a:rPr lang="es-PE" sz="2000" dirty="0" err="1">
                <a:hlinkClick r:id="rId2"/>
              </a:rPr>
              <a:t>Automate</a:t>
            </a:r>
            <a:r>
              <a:rPr lang="es-PE" sz="2000" dirty="0">
                <a:hlinkClick r:id="rId2"/>
              </a:rPr>
              <a:t> ADF </a:t>
            </a:r>
            <a:r>
              <a:rPr lang="es-PE" sz="2000" dirty="0" err="1">
                <a:hlinkClick r:id="rId2"/>
              </a:rPr>
              <a:t>using</a:t>
            </a:r>
            <a:r>
              <a:rPr lang="es-PE" sz="2000" dirty="0">
                <a:hlinkClick r:id="rId2"/>
              </a:rPr>
              <a:t> CICD Lab_V1.docx (sharepoint.com)</a:t>
            </a:r>
            <a:r>
              <a:rPr lang="es-PE" sz="2000" dirty="0"/>
              <a:t> </a:t>
            </a:r>
          </a:p>
          <a:p>
            <a:pPr marL="0" indent="0">
              <a:buNone/>
            </a:pPr>
            <a:endParaRPr lang="es-PE" sz="2000" dirty="0"/>
          </a:p>
          <a:p>
            <a:pPr marL="0" indent="0">
              <a:buNone/>
            </a:pPr>
            <a:endParaRPr lang="es-PE" sz="200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DD5D076-BC56-4259-B3EA-22D95CECD5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IP : Automate ADF with CI/CD</a:t>
            </a:r>
            <a:endParaRPr lang="es-PE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0A157AF-E85D-4BD9-A146-FAFC6B09302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8FEED8F-67A2-46EA-A24C-A41FAFDEBE62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7477918"/>
      </p:ext>
    </p:extLst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366ADD9-A38A-4611-A51C-34764752A05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9240" y="1345720"/>
            <a:ext cx="11653523" cy="4228850"/>
          </a:xfrm>
        </p:spPr>
        <p:txBody>
          <a:bodyPr/>
          <a:lstStyle/>
          <a:p>
            <a:r>
              <a:rPr lang="es-PE" sz="1800" dirty="0">
                <a:hlinkClick r:id="rId2"/>
              </a:rPr>
              <a:t>https://stackoverflow.com/questions/62052791/how-to-get-the-name-of-the-file-that-triggered-the-azure-data-factory-pipeline</a:t>
            </a:r>
            <a:r>
              <a:rPr lang="es-PE" sz="1800" dirty="0"/>
              <a:t> </a:t>
            </a:r>
          </a:p>
          <a:p>
            <a:r>
              <a:rPr lang="es-PE" sz="1800" dirty="0">
                <a:hlinkClick r:id="rId3"/>
              </a:rPr>
              <a:t>https://docs.microsoft.com/en-us/azure/data-factory/concepts-pipeline-execution-triggers#trigger-execution-with-json</a:t>
            </a:r>
            <a:r>
              <a:rPr lang="es-PE" sz="1800" dirty="0"/>
              <a:t> </a:t>
            </a:r>
          </a:p>
          <a:p>
            <a:r>
              <a:rPr lang="es-PE" sz="1800" dirty="0">
                <a:hlinkClick r:id="rId4"/>
              </a:rPr>
              <a:t>https://docs.microsoft.com/en-us/powershell/module/az.datafactory/set-azdatafactoryv2trigger?view=azps-7.2</a:t>
            </a:r>
            <a:r>
              <a:rPr lang="es-PE" sz="1800" dirty="0"/>
              <a:t>. 0</a:t>
            </a:r>
          </a:p>
          <a:p>
            <a:r>
              <a:rPr lang="es-PE" sz="1800" dirty="0">
                <a:hlinkClick r:id="rId5"/>
              </a:rPr>
              <a:t>https://docs.microsoft.com/en-us/azure/data-factory/control-flow-expression-language-functions#expressions</a:t>
            </a:r>
            <a:r>
              <a:rPr lang="es-PE" sz="1800" dirty="0"/>
              <a:t> </a:t>
            </a:r>
          </a:p>
          <a:p>
            <a:r>
              <a:rPr lang="es-PE" sz="1800" dirty="0">
                <a:hlinkClick r:id="rId6"/>
              </a:rPr>
              <a:t>https://docs.microsoft.com/en-us/azure/data-factory/how-to-use-trigger-parameterization</a:t>
            </a:r>
            <a:r>
              <a:rPr lang="es-PE" sz="1800" dirty="0"/>
              <a:t> </a:t>
            </a:r>
          </a:p>
          <a:p>
            <a:r>
              <a:rPr lang="es-PE" sz="1800" dirty="0">
                <a:hlinkClick r:id="rId7"/>
              </a:rPr>
              <a:t>https://docs.microsoft.com/en-us/azure/data-factory/author-global-parameters</a:t>
            </a:r>
            <a:r>
              <a:rPr lang="es-PE" sz="1800" dirty="0"/>
              <a:t> </a:t>
            </a:r>
          </a:p>
          <a:p>
            <a:r>
              <a:rPr lang="es-PE" sz="1800" dirty="0">
                <a:hlinkClick r:id="rId8"/>
              </a:rPr>
              <a:t>https://stackoverflow.com/questions/68839698/global-parameters-for-trigger-body-properties-and-using-split-function-on-trigg</a:t>
            </a:r>
            <a:r>
              <a:rPr lang="es-PE" sz="1800" dirty="0"/>
              <a:t> </a:t>
            </a:r>
          </a:p>
          <a:p>
            <a:r>
              <a:rPr lang="es-PE" sz="1800" dirty="0">
                <a:hlinkClick r:id="rId9"/>
              </a:rPr>
              <a:t>http://www.mutazag.com/blog/code/tutorial/ADF-custom-paramaters/</a:t>
            </a:r>
            <a:r>
              <a:rPr lang="es-PE" sz="1800" dirty="0"/>
              <a:t> </a:t>
            </a:r>
          </a:p>
          <a:p>
            <a:r>
              <a:rPr lang="es-PE" sz="1800" dirty="0">
                <a:hlinkClick r:id="rId10"/>
              </a:rPr>
              <a:t>https://docs.microsoft.com/en-us/azure/templates/microsoft.datafactory/2018-06-01/factories/triggers?tabs=bicep</a:t>
            </a:r>
            <a:r>
              <a:rPr lang="es-PE" sz="1800" dirty="0"/>
              <a:t> </a:t>
            </a:r>
          </a:p>
          <a:p>
            <a:r>
              <a:rPr lang="es-PE" sz="1800" dirty="0">
                <a:hlinkClick r:id="rId11"/>
              </a:rPr>
              <a:t>https://docs.microsoft.com/en-us/azure/azure-resource-manager/templates/overview</a:t>
            </a:r>
            <a:endParaRPr lang="es-PE" sz="1800" dirty="0"/>
          </a:p>
          <a:p>
            <a:r>
              <a:rPr lang="es-PE" sz="1800" dirty="0">
                <a:hlinkClick r:id="rId12"/>
              </a:rPr>
              <a:t>https://docs.microsoft.com/en-us/azure/data-factory/continuous-integration-delivery-sample-script</a:t>
            </a:r>
            <a:r>
              <a:rPr lang="es-PE" sz="1800" dirty="0"/>
              <a:t> 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DD5D076-BC56-4259-B3EA-22D95CECD5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nks </a:t>
            </a:r>
            <a:r>
              <a:rPr lang="en-US" dirty="0" err="1"/>
              <a:t>adicionales</a:t>
            </a:r>
            <a:endParaRPr lang="es-PE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0A157AF-E85D-4BD9-A146-FAFC6B09302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8FEED8F-67A2-46EA-A24C-A41FAFDEBE62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53499187"/>
      </p:ext>
    </p:extLst>
  </p:cSld>
  <p:clrMapOvr>
    <a:masterClrMapping/>
  </p:clrMapOvr>
  <p:transition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81778392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Escenario</a:t>
            </a:r>
            <a:r>
              <a:rPr lang="en-US" dirty="0"/>
              <a:t> Actual</a:t>
            </a:r>
          </a:p>
        </p:txBody>
      </p:sp>
    </p:spTree>
    <p:extLst>
      <p:ext uri="{BB962C8B-B14F-4D97-AF65-F5344CB8AC3E}">
        <p14:creationId xmlns:p14="http://schemas.microsoft.com/office/powerpoint/2010/main" val="1086266910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366ADD9-A38A-4611-A51C-34764752A05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9240" y="1345720"/>
            <a:ext cx="11653523" cy="3200876"/>
          </a:xfrm>
        </p:spPr>
        <p:txBody>
          <a:bodyPr/>
          <a:lstStyle/>
          <a:p>
            <a:pPr marL="0" indent="0">
              <a:buNone/>
            </a:pP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El </a:t>
            </a:r>
            <a:r>
              <a:rPr lang="en-US" sz="2000" dirty="0" err="1">
                <a:solidFill>
                  <a:srgbClr val="171717"/>
                </a:solidFill>
                <a:latin typeface="Segoe UI" panose="020B0502040204020203" pitchFamily="34" charset="0"/>
              </a:rPr>
              <a:t>cliente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rgbClr val="171717"/>
                </a:solidFill>
                <a:latin typeface="Segoe UI" panose="020B0502040204020203" pitchFamily="34" charset="0"/>
              </a:rPr>
              <a:t>tiene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 un pipeline que se </a:t>
            </a:r>
            <a:r>
              <a:rPr lang="en-US" sz="2000" dirty="0" err="1">
                <a:solidFill>
                  <a:srgbClr val="171717"/>
                </a:solidFill>
                <a:latin typeface="Segoe UI" panose="020B0502040204020203" pitchFamily="34" charset="0"/>
              </a:rPr>
              <a:t>ejecuta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 con las </a:t>
            </a:r>
            <a:r>
              <a:rPr lang="en-US" sz="2000" dirty="0" err="1">
                <a:solidFill>
                  <a:srgbClr val="171717"/>
                </a:solidFill>
                <a:latin typeface="Segoe UI" panose="020B0502040204020203" pitchFamily="34" charset="0"/>
              </a:rPr>
              <a:t>configuraciones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rgbClr val="171717"/>
                </a:solidFill>
                <a:latin typeface="Segoe UI" panose="020B0502040204020203" pitchFamily="34" charset="0"/>
              </a:rPr>
              <a:t>enviadas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rgbClr val="171717"/>
                </a:solidFill>
                <a:latin typeface="Segoe UI" panose="020B0502040204020203" pitchFamily="34" charset="0"/>
              </a:rPr>
              <a:t>por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 un trigger. </a:t>
            </a:r>
            <a:r>
              <a:rPr lang="en-US" sz="2000" dirty="0" err="1">
                <a:solidFill>
                  <a:srgbClr val="171717"/>
                </a:solidFill>
                <a:latin typeface="Segoe UI" panose="020B0502040204020203" pitchFamily="34" charset="0"/>
              </a:rPr>
              <a:t>En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 ese </a:t>
            </a:r>
            <a:r>
              <a:rPr lang="en-US" sz="2000" dirty="0" err="1">
                <a:solidFill>
                  <a:srgbClr val="171717"/>
                </a:solidFill>
                <a:latin typeface="Segoe UI" panose="020B0502040204020203" pitchFamily="34" charset="0"/>
              </a:rPr>
              <a:t>sentido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, </a:t>
            </a:r>
            <a:r>
              <a:rPr lang="en-US" sz="2000" dirty="0" err="1">
                <a:solidFill>
                  <a:srgbClr val="171717"/>
                </a:solidFill>
                <a:latin typeface="Segoe UI" panose="020B0502040204020203" pitchFamily="34" charset="0"/>
              </a:rPr>
              <a:t>cuenta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 con </a:t>
            </a:r>
            <a:r>
              <a:rPr lang="en-US" sz="2000" dirty="0" err="1">
                <a:solidFill>
                  <a:srgbClr val="171717"/>
                </a:solidFill>
                <a:latin typeface="Segoe UI" panose="020B0502040204020203" pitchFamily="34" charset="0"/>
              </a:rPr>
              <a:t>decenas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 de triggers que se </a:t>
            </a:r>
            <a:r>
              <a:rPr lang="en-US" sz="2000" dirty="0" err="1">
                <a:solidFill>
                  <a:srgbClr val="171717"/>
                </a:solidFill>
                <a:latin typeface="Segoe UI" panose="020B0502040204020203" pitchFamily="34" charset="0"/>
              </a:rPr>
              <a:t>ejecutan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rgbClr val="171717"/>
                </a:solidFill>
                <a:latin typeface="Segoe UI" panose="020B0502040204020203" pitchFamily="34" charset="0"/>
              </a:rPr>
              <a:t>según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rgbClr val="171717"/>
                </a:solidFill>
                <a:latin typeface="Segoe UI" panose="020B0502040204020203" pitchFamily="34" charset="0"/>
              </a:rPr>
              <a:t>el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 archive que </a:t>
            </a:r>
            <a:r>
              <a:rPr lang="en-US" sz="2000" dirty="0" err="1">
                <a:solidFill>
                  <a:srgbClr val="171717"/>
                </a:solidFill>
                <a:latin typeface="Segoe UI" panose="020B0502040204020203" pitchFamily="34" charset="0"/>
              </a:rPr>
              <a:t>llegue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 a un storage account. </a:t>
            </a:r>
          </a:p>
          <a:p>
            <a:pPr marL="0" indent="0">
              <a:buNone/>
            </a:pPr>
            <a:endParaRPr lang="en-US" sz="2000" dirty="0">
              <a:solidFill>
                <a:srgbClr val="171717"/>
              </a:solidFill>
              <a:latin typeface="Segoe UI" panose="020B0502040204020203" pitchFamily="34" charset="0"/>
            </a:endParaRPr>
          </a:p>
          <a:p>
            <a:pPr marL="0" indent="0">
              <a:buNone/>
            </a:pPr>
            <a:r>
              <a:rPr lang="en-US" sz="2000" dirty="0" err="1">
                <a:solidFill>
                  <a:srgbClr val="171717"/>
                </a:solidFill>
                <a:latin typeface="Segoe UI" panose="020B0502040204020203" pitchFamily="34" charset="0"/>
              </a:rPr>
              <a:t>Así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rgbClr val="171717"/>
                </a:solidFill>
                <a:latin typeface="Segoe UI" panose="020B0502040204020203" pitchFamily="34" charset="0"/>
              </a:rPr>
              <a:t>mismo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, </a:t>
            </a:r>
            <a:r>
              <a:rPr lang="en-US" sz="2000" dirty="0" err="1">
                <a:solidFill>
                  <a:srgbClr val="171717"/>
                </a:solidFill>
                <a:latin typeface="Segoe UI" panose="020B0502040204020203" pitchFamily="34" charset="0"/>
              </a:rPr>
              <a:t>cuentan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 con 2 ambientes: </a:t>
            </a:r>
            <a:r>
              <a:rPr lang="en-US" sz="2000" dirty="0" err="1">
                <a:solidFill>
                  <a:srgbClr val="171717"/>
                </a:solidFill>
                <a:latin typeface="Segoe UI" panose="020B0502040204020203" pitchFamily="34" charset="0"/>
              </a:rPr>
              <a:t>desarrollo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 y </a:t>
            </a:r>
            <a:r>
              <a:rPr lang="en-US" sz="2000" dirty="0" err="1">
                <a:solidFill>
                  <a:srgbClr val="171717"/>
                </a:solidFill>
                <a:latin typeface="Segoe UI" panose="020B0502040204020203" pitchFamily="34" charset="0"/>
              </a:rPr>
              <a:t>productivo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. </a:t>
            </a:r>
            <a:r>
              <a:rPr lang="en-US" sz="2000" dirty="0" err="1">
                <a:solidFill>
                  <a:srgbClr val="171717"/>
                </a:solidFill>
                <a:latin typeface="Segoe UI" panose="020B0502040204020203" pitchFamily="34" charset="0"/>
              </a:rPr>
              <a:t>Manejan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rgbClr val="171717"/>
                </a:solidFill>
                <a:latin typeface="Segoe UI" panose="020B0502040204020203" pitchFamily="34" charset="0"/>
              </a:rPr>
              <a:t>el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rgbClr val="171717"/>
                </a:solidFill>
                <a:latin typeface="Segoe UI" panose="020B0502040204020203" pitchFamily="34" charset="0"/>
              </a:rPr>
              <a:t>despliegue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 de forma </a:t>
            </a:r>
            <a:r>
              <a:rPr lang="en-US" sz="2000" dirty="0" err="1">
                <a:solidFill>
                  <a:srgbClr val="171717"/>
                </a:solidFill>
                <a:latin typeface="Segoe UI" panose="020B0502040204020203" pitchFamily="34" charset="0"/>
              </a:rPr>
              <a:t>automática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 entre ambientes. </a:t>
            </a:r>
          </a:p>
          <a:p>
            <a:pPr marL="0" indent="0">
              <a:buNone/>
            </a:pPr>
            <a:endParaRPr lang="en-US" sz="2000" dirty="0">
              <a:solidFill>
                <a:srgbClr val="171717"/>
              </a:solidFill>
              <a:latin typeface="Segoe UI" panose="020B0502040204020203" pitchFamily="34" charset="0"/>
            </a:endParaRPr>
          </a:p>
          <a:p>
            <a:pPr marL="0" indent="0">
              <a:buNone/>
            </a:pP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Sin embargo, al </a:t>
            </a:r>
            <a:r>
              <a:rPr lang="en-US" sz="2000" dirty="0" err="1">
                <a:solidFill>
                  <a:srgbClr val="171717"/>
                </a:solidFill>
                <a:latin typeface="Segoe UI" panose="020B0502040204020203" pitchFamily="34" charset="0"/>
              </a:rPr>
              <a:t>seguir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rgbClr val="171717"/>
                </a:solidFill>
                <a:latin typeface="Segoe UI" panose="020B0502040204020203" pitchFamily="34" charset="0"/>
              </a:rPr>
              <a:t>construyendo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 triggers, </a:t>
            </a:r>
            <a:r>
              <a:rPr lang="en-US" sz="2000" dirty="0" err="1">
                <a:solidFill>
                  <a:srgbClr val="171717"/>
                </a:solidFill>
                <a:latin typeface="Segoe UI" panose="020B0502040204020203" pitchFamily="34" charset="0"/>
              </a:rPr>
              <a:t>llegaron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 al </a:t>
            </a:r>
            <a:r>
              <a:rPr lang="en-US" sz="2000" dirty="0" err="1">
                <a:solidFill>
                  <a:srgbClr val="171717"/>
                </a:solidFill>
                <a:latin typeface="Segoe UI" panose="020B0502040204020203" pitchFamily="34" charset="0"/>
              </a:rPr>
              <a:t>límite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 de </a:t>
            </a:r>
            <a:r>
              <a:rPr lang="en-US" sz="2000" dirty="0" err="1">
                <a:solidFill>
                  <a:srgbClr val="171717"/>
                </a:solidFill>
                <a:latin typeface="Segoe UI" panose="020B0502040204020203" pitchFamily="34" charset="0"/>
              </a:rPr>
              <a:t>párametros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 (256) </a:t>
            </a:r>
            <a:r>
              <a:rPr lang="en-US" sz="2000" dirty="0" err="1">
                <a:solidFill>
                  <a:srgbClr val="171717"/>
                </a:solidFill>
                <a:latin typeface="Segoe UI" panose="020B0502040204020203" pitchFamily="34" charset="0"/>
              </a:rPr>
              <a:t>soportados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rgbClr val="171717"/>
                </a:solidFill>
                <a:latin typeface="Segoe UI" panose="020B0502040204020203" pitchFamily="34" charset="0"/>
              </a:rPr>
              <a:t>por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 la </a:t>
            </a:r>
            <a:r>
              <a:rPr lang="en-US" sz="2000" dirty="0" err="1">
                <a:solidFill>
                  <a:srgbClr val="171717"/>
                </a:solidFill>
                <a:latin typeface="Segoe UI" panose="020B0502040204020203" pitchFamily="34" charset="0"/>
              </a:rPr>
              <a:t>plantilla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 de ARM. </a:t>
            </a:r>
            <a:r>
              <a:rPr lang="en-US" sz="2000" dirty="0" err="1">
                <a:solidFill>
                  <a:srgbClr val="171717"/>
                </a:solidFill>
                <a:latin typeface="Segoe UI" panose="020B0502040204020203" pitchFamily="34" charset="0"/>
              </a:rPr>
              <a:t>Esto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rgbClr val="171717"/>
                </a:solidFill>
                <a:latin typeface="Segoe UI" panose="020B0502040204020203" pitchFamily="34" charset="0"/>
              </a:rPr>
              <a:t>debido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 a que </a:t>
            </a:r>
            <a:r>
              <a:rPr lang="en-US" sz="2000" dirty="0" err="1">
                <a:solidFill>
                  <a:srgbClr val="171717"/>
                </a:solidFill>
                <a:latin typeface="Segoe UI" panose="020B0502040204020203" pitchFamily="34" charset="0"/>
              </a:rPr>
              <a:t>por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 trigger se </a:t>
            </a:r>
            <a:r>
              <a:rPr lang="en-US" sz="2000" dirty="0" err="1">
                <a:solidFill>
                  <a:srgbClr val="171717"/>
                </a:solidFill>
                <a:latin typeface="Segoe UI" panose="020B0502040204020203" pitchFamily="34" charset="0"/>
              </a:rPr>
              <a:t>crean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rgbClr val="171717"/>
                </a:solidFill>
                <a:latin typeface="Segoe UI" panose="020B0502040204020203" pitchFamily="34" charset="0"/>
              </a:rPr>
              <a:t>varios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rgbClr val="171717"/>
                </a:solidFill>
                <a:latin typeface="Segoe UI" panose="020B0502040204020203" pitchFamily="34" charset="0"/>
              </a:rPr>
              <a:t>parámetros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, </a:t>
            </a:r>
            <a:r>
              <a:rPr lang="en-US" sz="2000" dirty="0" err="1">
                <a:solidFill>
                  <a:srgbClr val="171717"/>
                </a:solidFill>
                <a:latin typeface="Segoe UI" panose="020B0502040204020203" pitchFamily="34" charset="0"/>
              </a:rPr>
              <a:t>multiplicándose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rgbClr val="171717"/>
                </a:solidFill>
                <a:latin typeface="Segoe UI" panose="020B0502040204020203" pitchFamily="34" charset="0"/>
              </a:rPr>
              <a:t>rápidamente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.</a:t>
            </a:r>
            <a:endParaRPr lang="es-PE" sz="4000" dirty="0">
              <a:solidFill>
                <a:srgbClr val="171717"/>
              </a:solidFill>
              <a:latin typeface="Segoe UI" panose="020B0502040204020203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DD5D076-BC56-4259-B3EA-22D95CECD5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stado actual</a:t>
            </a:r>
            <a:endParaRPr lang="es-PE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0A157AF-E85D-4BD9-A146-FAFC6B09302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8FEED8F-67A2-46EA-A24C-A41FAFDEBE62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98275418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ghtning Bolt 3">
            <a:extLst>
              <a:ext uri="{FF2B5EF4-FFF2-40B4-BE49-F238E27FC236}">
                <a16:creationId xmlns:a16="http://schemas.microsoft.com/office/drawing/2014/main" id="{5D32EF5E-B56D-419A-BDCB-A6B79D3678AB}"/>
              </a:ext>
            </a:extLst>
          </p:cNvPr>
          <p:cNvSpPr/>
          <p:nvPr/>
        </p:nvSpPr>
        <p:spPr>
          <a:xfrm>
            <a:off x="3885063" y="1201006"/>
            <a:ext cx="464024" cy="918949"/>
          </a:xfrm>
          <a:prstGeom prst="lightningBol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Lightning Bolt 5">
            <a:extLst>
              <a:ext uri="{FF2B5EF4-FFF2-40B4-BE49-F238E27FC236}">
                <a16:creationId xmlns:a16="http://schemas.microsoft.com/office/drawing/2014/main" id="{1506C21E-4AFD-447A-9A91-9F60C9056CB1}"/>
              </a:ext>
            </a:extLst>
          </p:cNvPr>
          <p:cNvSpPr/>
          <p:nvPr/>
        </p:nvSpPr>
        <p:spPr>
          <a:xfrm>
            <a:off x="3885063" y="2415656"/>
            <a:ext cx="464024" cy="918949"/>
          </a:xfrm>
          <a:prstGeom prst="lightningBol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Lightning Bolt 7">
            <a:extLst>
              <a:ext uri="{FF2B5EF4-FFF2-40B4-BE49-F238E27FC236}">
                <a16:creationId xmlns:a16="http://schemas.microsoft.com/office/drawing/2014/main" id="{29007855-A21D-4C26-B729-275F9D6F0F39}"/>
              </a:ext>
            </a:extLst>
          </p:cNvPr>
          <p:cNvSpPr/>
          <p:nvPr/>
        </p:nvSpPr>
        <p:spPr>
          <a:xfrm>
            <a:off x="3885063" y="3630307"/>
            <a:ext cx="464024" cy="918949"/>
          </a:xfrm>
          <a:prstGeom prst="lightningBol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Lightning Bolt 9">
            <a:extLst>
              <a:ext uri="{FF2B5EF4-FFF2-40B4-BE49-F238E27FC236}">
                <a16:creationId xmlns:a16="http://schemas.microsoft.com/office/drawing/2014/main" id="{C388B696-8033-461F-A8A4-6EDE41F86B8D}"/>
              </a:ext>
            </a:extLst>
          </p:cNvPr>
          <p:cNvSpPr/>
          <p:nvPr/>
        </p:nvSpPr>
        <p:spPr>
          <a:xfrm>
            <a:off x="3885063" y="4844958"/>
            <a:ext cx="464024" cy="918949"/>
          </a:xfrm>
          <a:prstGeom prst="lightningBol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C621BAF-6298-4C57-9874-E9FC6F63D566}"/>
              </a:ext>
            </a:extLst>
          </p:cNvPr>
          <p:cNvSpPr txBox="1"/>
          <p:nvPr/>
        </p:nvSpPr>
        <p:spPr>
          <a:xfrm>
            <a:off x="3998806" y="5852279"/>
            <a:ext cx="242374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</a:t>
            </a: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Cylinder 11">
            <a:extLst>
              <a:ext uri="{FF2B5EF4-FFF2-40B4-BE49-F238E27FC236}">
                <a16:creationId xmlns:a16="http://schemas.microsoft.com/office/drawing/2014/main" id="{509FC23C-E025-4C76-83D8-F3D58BF64FF2}"/>
              </a:ext>
            </a:extLst>
          </p:cNvPr>
          <p:cNvSpPr/>
          <p:nvPr/>
        </p:nvSpPr>
        <p:spPr>
          <a:xfrm rot="5400000">
            <a:off x="7105935" y="2984315"/>
            <a:ext cx="896203" cy="1191950"/>
          </a:xfrm>
          <a:prstGeom prst="ca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6" name="Connector: Elbow 15">
            <a:extLst>
              <a:ext uri="{FF2B5EF4-FFF2-40B4-BE49-F238E27FC236}">
                <a16:creationId xmlns:a16="http://schemas.microsoft.com/office/drawing/2014/main" id="{E14D4AE1-464B-47AE-B00F-0492B39938CA}"/>
              </a:ext>
            </a:extLst>
          </p:cNvPr>
          <p:cNvCxnSpPr>
            <a:stCxn id="4" idx="6"/>
            <a:endCxn id="12" idx="3"/>
          </p:cNvCxnSpPr>
          <p:nvPr/>
        </p:nvCxnSpPr>
        <p:spPr>
          <a:xfrm>
            <a:off x="4161329" y="1459673"/>
            <a:ext cx="2796733" cy="2120618"/>
          </a:xfrm>
          <a:prstGeom prst="bentConnector3">
            <a:avLst>
              <a:gd name="adj1" fmla="val 51464"/>
            </a:avLst>
          </a:prstGeom>
          <a:ln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nector: Elbow 17">
            <a:extLst>
              <a:ext uri="{FF2B5EF4-FFF2-40B4-BE49-F238E27FC236}">
                <a16:creationId xmlns:a16="http://schemas.microsoft.com/office/drawing/2014/main" id="{BF225E03-FDF6-428D-94A1-2352B1E5562F}"/>
              </a:ext>
            </a:extLst>
          </p:cNvPr>
          <p:cNvCxnSpPr>
            <a:stCxn id="6" idx="5"/>
            <a:endCxn id="12" idx="3"/>
          </p:cNvCxnSpPr>
          <p:nvPr/>
        </p:nvCxnSpPr>
        <p:spPr>
          <a:xfrm>
            <a:off x="4241180" y="2926481"/>
            <a:ext cx="2716882" cy="653810"/>
          </a:xfrm>
          <a:prstGeom prst="bentConnector3">
            <a:avLst/>
          </a:prstGeom>
          <a:ln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nector: Elbow 19">
            <a:extLst>
              <a:ext uri="{FF2B5EF4-FFF2-40B4-BE49-F238E27FC236}">
                <a16:creationId xmlns:a16="http://schemas.microsoft.com/office/drawing/2014/main" id="{6D17F994-5CB5-44F3-901D-A1013793D888}"/>
              </a:ext>
            </a:extLst>
          </p:cNvPr>
          <p:cNvCxnSpPr>
            <a:stCxn id="8" idx="5"/>
            <a:endCxn id="12" idx="3"/>
          </p:cNvCxnSpPr>
          <p:nvPr/>
        </p:nvCxnSpPr>
        <p:spPr>
          <a:xfrm flipV="1">
            <a:off x="4241180" y="3580291"/>
            <a:ext cx="2716882" cy="560841"/>
          </a:xfrm>
          <a:prstGeom prst="bentConnector3">
            <a:avLst/>
          </a:prstGeom>
          <a:ln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nector: Elbow 21">
            <a:extLst>
              <a:ext uri="{FF2B5EF4-FFF2-40B4-BE49-F238E27FC236}">
                <a16:creationId xmlns:a16="http://schemas.microsoft.com/office/drawing/2014/main" id="{0D6C0F59-74AB-4832-9C8E-BA3B796CCE6B}"/>
              </a:ext>
            </a:extLst>
          </p:cNvPr>
          <p:cNvCxnSpPr>
            <a:stCxn id="10" idx="5"/>
            <a:endCxn id="12" idx="3"/>
          </p:cNvCxnSpPr>
          <p:nvPr/>
        </p:nvCxnSpPr>
        <p:spPr>
          <a:xfrm flipV="1">
            <a:off x="4241180" y="3580291"/>
            <a:ext cx="2716882" cy="1775492"/>
          </a:xfrm>
          <a:prstGeom prst="bentConnector3">
            <a:avLst/>
          </a:prstGeom>
          <a:ln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 24">
            <a:extLst>
              <a:ext uri="{FF2B5EF4-FFF2-40B4-BE49-F238E27FC236}">
                <a16:creationId xmlns:a16="http://schemas.microsoft.com/office/drawing/2014/main" id="{7DF39155-0DD5-434B-A664-F884DB0ABA4A}"/>
              </a:ext>
            </a:extLst>
          </p:cNvPr>
          <p:cNvSpPr/>
          <p:nvPr/>
        </p:nvSpPr>
        <p:spPr>
          <a:xfrm>
            <a:off x="3698543" y="250209"/>
            <a:ext cx="1906138" cy="3502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iggers</a:t>
            </a: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966ADBD2-220D-4B4F-BF4D-DF437D87DDF1}"/>
              </a:ext>
            </a:extLst>
          </p:cNvPr>
          <p:cNvSpPr/>
          <p:nvPr/>
        </p:nvSpPr>
        <p:spPr>
          <a:xfrm>
            <a:off x="6600967" y="250170"/>
            <a:ext cx="1906138" cy="3502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ipeline</a:t>
            </a: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FB179741-4689-4700-AEFD-7A47203FF518}"/>
              </a:ext>
            </a:extLst>
          </p:cNvPr>
          <p:cNvGrpSpPr/>
          <p:nvPr/>
        </p:nvGrpSpPr>
        <p:grpSpPr>
          <a:xfrm>
            <a:off x="1075762" y="1337314"/>
            <a:ext cx="1893617" cy="646331"/>
            <a:chOff x="254758" y="845992"/>
            <a:chExt cx="1893617" cy="646331"/>
          </a:xfrm>
        </p:grpSpPr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F9430C45-7344-4EAB-83B1-40F71D368441}"/>
                </a:ext>
              </a:extLst>
            </p:cNvPr>
            <p:cNvSpPr/>
            <p:nvPr/>
          </p:nvSpPr>
          <p:spPr>
            <a:xfrm>
              <a:off x="254758" y="868907"/>
              <a:ext cx="1874293" cy="600502"/>
            </a:xfrm>
            <a:prstGeom prst="rect">
              <a:avLst/>
            </a:prstGeom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P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0B5EBE73-2762-4A10-884F-DF791C133481}"/>
                </a:ext>
              </a:extLst>
            </p:cNvPr>
            <p:cNvSpPr txBox="1"/>
            <p:nvPr/>
          </p:nvSpPr>
          <p:spPr>
            <a:xfrm>
              <a:off x="274082" y="845992"/>
              <a:ext cx="1874293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torage Account: </a:t>
              </a:r>
              <a:r>
                <a:rPr kumimoji="0" lang="en-US" sz="12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xyzDEV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Container: input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Archivo</a:t>
              </a: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: abcd.txt</a:t>
              </a:r>
              <a:endParaRPr kumimoji="0" lang="es-P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D66E693B-B420-4EBC-89B6-F6CC15D461AE}"/>
              </a:ext>
            </a:extLst>
          </p:cNvPr>
          <p:cNvGrpSpPr/>
          <p:nvPr/>
        </p:nvGrpSpPr>
        <p:grpSpPr>
          <a:xfrm>
            <a:off x="1066099" y="2551964"/>
            <a:ext cx="1893617" cy="646331"/>
            <a:chOff x="254758" y="845992"/>
            <a:chExt cx="1893617" cy="646331"/>
          </a:xfrm>
        </p:grpSpPr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3B10DD45-E3FD-4A65-AB4B-EB3947FF2B80}"/>
                </a:ext>
              </a:extLst>
            </p:cNvPr>
            <p:cNvSpPr/>
            <p:nvPr/>
          </p:nvSpPr>
          <p:spPr>
            <a:xfrm>
              <a:off x="254758" y="868907"/>
              <a:ext cx="1874293" cy="600502"/>
            </a:xfrm>
            <a:prstGeom prst="rect">
              <a:avLst/>
            </a:prstGeom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P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C9A163E5-3476-4EA6-A2CC-5992477025DE}"/>
                </a:ext>
              </a:extLst>
            </p:cNvPr>
            <p:cNvSpPr txBox="1"/>
            <p:nvPr/>
          </p:nvSpPr>
          <p:spPr>
            <a:xfrm>
              <a:off x="274082" y="845992"/>
              <a:ext cx="1874293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torage Account: </a:t>
              </a:r>
              <a:r>
                <a:rPr kumimoji="0" lang="en-US" sz="12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xyzDEV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Container: input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Archivo</a:t>
              </a: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: efgh.txt</a:t>
              </a:r>
              <a:endParaRPr kumimoji="0" lang="es-P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D786CAEC-4617-4A0B-BD5A-F6294EC67765}"/>
              </a:ext>
            </a:extLst>
          </p:cNvPr>
          <p:cNvGrpSpPr/>
          <p:nvPr/>
        </p:nvGrpSpPr>
        <p:grpSpPr>
          <a:xfrm>
            <a:off x="1094181" y="3762232"/>
            <a:ext cx="1893617" cy="646331"/>
            <a:chOff x="254758" y="845992"/>
            <a:chExt cx="1893617" cy="646331"/>
          </a:xfrm>
        </p:grpSpPr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215C2B8E-BB5A-4018-ABB4-B76F386BB429}"/>
                </a:ext>
              </a:extLst>
            </p:cNvPr>
            <p:cNvSpPr/>
            <p:nvPr/>
          </p:nvSpPr>
          <p:spPr>
            <a:xfrm>
              <a:off x="254758" y="868907"/>
              <a:ext cx="1874293" cy="600502"/>
            </a:xfrm>
            <a:prstGeom prst="rect">
              <a:avLst/>
            </a:prstGeom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P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EAD9E499-3044-4B9C-B42F-879A64295240}"/>
                </a:ext>
              </a:extLst>
            </p:cNvPr>
            <p:cNvSpPr txBox="1"/>
            <p:nvPr/>
          </p:nvSpPr>
          <p:spPr>
            <a:xfrm>
              <a:off x="274082" y="845992"/>
              <a:ext cx="1874293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torage Account: </a:t>
              </a:r>
              <a:r>
                <a:rPr kumimoji="0" lang="en-US" sz="12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xyzDEV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Container: input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Archivo</a:t>
              </a: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: ijkl.txt</a:t>
              </a:r>
              <a:endParaRPr kumimoji="0" lang="es-P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DB968B01-5852-433D-ACF7-4E937D33AECF}"/>
              </a:ext>
            </a:extLst>
          </p:cNvPr>
          <p:cNvGrpSpPr/>
          <p:nvPr/>
        </p:nvGrpSpPr>
        <p:grpSpPr>
          <a:xfrm>
            <a:off x="1103842" y="4981266"/>
            <a:ext cx="1893617" cy="646331"/>
            <a:chOff x="254758" y="845992"/>
            <a:chExt cx="1893617" cy="646331"/>
          </a:xfrm>
        </p:grpSpPr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9EB3EEBE-EE87-4B30-BBD4-CADD95C36448}"/>
                </a:ext>
              </a:extLst>
            </p:cNvPr>
            <p:cNvSpPr/>
            <p:nvPr/>
          </p:nvSpPr>
          <p:spPr>
            <a:xfrm>
              <a:off x="254758" y="868907"/>
              <a:ext cx="1874293" cy="600502"/>
            </a:xfrm>
            <a:prstGeom prst="rect">
              <a:avLst/>
            </a:prstGeom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P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3AF6217B-DE16-43A6-9106-BD490513A4AD}"/>
                </a:ext>
              </a:extLst>
            </p:cNvPr>
            <p:cNvSpPr txBox="1"/>
            <p:nvPr/>
          </p:nvSpPr>
          <p:spPr>
            <a:xfrm>
              <a:off x="274082" y="845992"/>
              <a:ext cx="1874293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torage Account: </a:t>
              </a:r>
              <a:r>
                <a:rPr kumimoji="0" lang="en-US" sz="12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xyzDEV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Container: input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Archivo</a:t>
              </a: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: mnop.txt</a:t>
              </a:r>
              <a:endParaRPr kumimoji="0" lang="es-P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74" name="Group 73">
            <a:extLst>
              <a:ext uri="{FF2B5EF4-FFF2-40B4-BE49-F238E27FC236}">
                <a16:creationId xmlns:a16="http://schemas.microsoft.com/office/drawing/2014/main" id="{68C79684-0F86-4699-82EF-1F6467E56B59}"/>
              </a:ext>
            </a:extLst>
          </p:cNvPr>
          <p:cNvGrpSpPr/>
          <p:nvPr/>
        </p:nvGrpSpPr>
        <p:grpSpPr>
          <a:xfrm>
            <a:off x="823415" y="627877"/>
            <a:ext cx="3757684" cy="1702986"/>
            <a:chOff x="823415" y="573286"/>
            <a:chExt cx="3757684" cy="1702986"/>
          </a:xfrm>
        </p:grpSpPr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BD19D1DC-7958-4AA1-A20B-9FF09C259CEB}"/>
                </a:ext>
              </a:extLst>
            </p:cNvPr>
            <p:cNvSpPr/>
            <p:nvPr/>
          </p:nvSpPr>
          <p:spPr>
            <a:xfrm>
              <a:off x="823415" y="893634"/>
              <a:ext cx="3757684" cy="1382638"/>
            </a:xfrm>
            <a:prstGeom prst="ellipse">
              <a:avLst/>
            </a:prstGeom>
            <a:noFill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P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A1EFD4E1-627B-4A78-876A-A169CC5E178B}"/>
                </a:ext>
              </a:extLst>
            </p:cNvPr>
            <p:cNvSpPr txBox="1"/>
            <p:nvPr/>
          </p:nvSpPr>
          <p:spPr>
            <a:xfrm>
              <a:off x="1922941" y="573286"/>
              <a:ext cx="77931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aram</a:t>
              </a:r>
              <a:endParaRPr kumimoji="0" lang="es-P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75" name="Group 74">
            <a:extLst>
              <a:ext uri="{FF2B5EF4-FFF2-40B4-BE49-F238E27FC236}">
                <a16:creationId xmlns:a16="http://schemas.microsoft.com/office/drawing/2014/main" id="{0C7A35E6-BE54-44DB-A911-1D6FA63A53D5}"/>
              </a:ext>
            </a:extLst>
          </p:cNvPr>
          <p:cNvGrpSpPr/>
          <p:nvPr/>
        </p:nvGrpSpPr>
        <p:grpSpPr>
          <a:xfrm>
            <a:off x="3332049" y="1679946"/>
            <a:ext cx="5285469" cy="1576308"/>
            <a:chOff x="3332049" y="1625355"/>
            <a:chExt cx="5285469" cy="1576308"/>
          </a:xfrm>
        </p:grpSpPr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F3F91884-8D91-4052-AF98-09BF9A69BE7D}"/>
                </a:ext>
              </a:extLst>
            </p:cNvPr>
            <p:cNvSpPr/>
            <p:nvPr/>
          </p:nvSpPr>
          <p:spPr>
            <a:xfrm rot="1466499">
              <a:off x="3332049" y="1675797"/>
              <a:ext cx="5285469" cy="1525866"/>
            </a:xfrm>
            <a:prstGeom prst="ellipse">
              <a:avLst/>
            </a:prstGeom>
            <a:noFill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P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2BFC45BC-5FBF-4131-B600-2D4BCA82A67B}"/>
                </a:ext>
              </a:extLst>
            </p:cNvPr>
            <p:cNvSpPr txBox="1"/>
            <p:nvPr/>
          </p:nvSpPr>
          <p:spPr>
            <a:xfrm>
              <a:off x="6183295" y="1625355"/>
              <a:ext cx="77931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aram</a:t>
              </a:r>
              <a:endParaRPr kumimoji="0" lang="es-P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77" name="Group 76">
            <a:extLst>
              <a:ext uri="{FF2B5EF4-FFF2-40B4-BE49-F238E27FC236}">
                <a16:creationId xmlns:a16="http://schemas.microsoft.com/office/drawing/2014/main" id="{9B2F80DC-9E69-4281-85AF-29D9762018F2}"/>
              </a:ext>
            </a:extLst>
          </p:cNvPr>
          <p:cNvGrpSpPr/>
          <p:nvPr/>
        </p:nvGrpSpPr>
        <p:grpSpPr>
          <a:xfrm>
            <a:off x="3466566" y="2315016"/>
            <a:ext cx="5258869" cy="1726699"/>
            <a:chOff x="3466566" y="2260425"/>
            <a:chExt cx="5258869" cy="1726699"/>
          </a:xfrm>
        </p:grpSpPr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A6F432D7-5640-4922-8C2D-86F6A75B0A3E}"/>
                </a:ext>
              </a:extLst>
            </p:cNvPr>
            <p:cNvSpPr/>
            <p:nvPr/>
          </p:nvSpPr>
          <p:spPr>
            <a:xfrm rot="853732">
              <a:off x="3466566" y="2461258"/>
              <a:ext cx="5258869" cy="1525866"/>
            </a:xfrm>
            <a:prstGeom prst="ellipse">
              <a:avLst/>
            </a:prstGeom>
            <a:noFill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P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E6117315-77AC-4C9D-AF6C-0730826FED2F}"/>
                </a:ext>
              </a:extLst>
            </p:cNvPr>
            <p:cNvSpPr txBox="1"/>
            <p:nvPr/>
          </p:nvSpPr>
          <p:spPr>
            <a:xfrm>
              <a:off x="5791363" y="2260425"/>
              <a:ext cx="77931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aram</a:t>
              </a:r>
              <a:endParaRPr kumimoji="0" lang="es-P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76" name="Group 75">
            <a:extLst>
              <a:ext uri="{FF2B5EF4-FFF2-40B4-BE49-F238E27FC236}">
                <a16:creationId xmlns:a16="http://schemas.microsoft.com/office/drawing/2014/main" id="{FE127B45-1107-43BB-80AD-FA5C48A1D4C0}"/>
              </a:ext>
            </a:extLst>
          </p:cNvPr>
          <p:cNvGrpSpPr/>
          <p:nvPr/>
        </p:nvGrpSpPr>
        <p:grpSpPr>
          <a:xfrm>
            <a:off x="827965" y="2201243"/>
            <a:ext cx="3757684" cy="1382638"/>
            <a:chOff x="827965" y="2146652"/>
            <a:chExt cx="3757684" cy="1382638"/>
          </a:xfrm>
        </p:grpSpPr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42C1DD91-7160-4F83-834C-888C1EEB9178}"/>
                </a:ext>
              </a:extLst>
            </p:cNvPr>
            <p:cNvSpPr/>
            <p:nvPr/>
          </p:nvSpPr>
          <p:spPr>
            <a:xfrm>
              <a:off x="827965" y="2146652"/>
              <a:ext cx="3757684" cy="1382638"/>
            </a:xfrm>
            <a:prstGeom prst="ellipse">
              <a:avLst/>
            </a:prstGeom>
            <a:noFill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P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EE15A059-17B0-40D6-B934-320EB287E18F}"/>
                </a:ext>
              </a:extLst>
            </p:cNvPr>
            <p:cNvSpPr txBox="1"/>
            <p:nvPr/>
          </p:nvSpPr>
          <p:spPr>
            <a:xfrm>
              <a:off x="872897" y="2150155"/>
              <a:ext cx="77931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aram</a:t>
              </a:r>
              <a:endParaRPr kumimoji="0" lang="es-P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78" name="Group 77">
            <a:extLst>
              <a:ext uri="{FF2B5EF4-FFF2-40B4-BE49-F238E27FC236}">
                <a16:creationId xmlns:a16="http://schemas.microsoft.com/office/drawing/2014/main" id="{1BF56E69-CE5A-4518-872C-F0AE77C62682}"/>
              </a:ext>
            </a:extLst>
          </p:cNvPr>
          <p:cNvGrpSpPr/>
          <p:nvPr/>
        </p:nvGrpSpPr>
        <p:grpSpPr>
          <a:xfrm>
            <a:off x="823415" y="3409544"/>
            <a:ext cx="3757684" cy="1382638"/>
            <a:chOff x="823415" y="3354953"/>
            <a:chExt cx="3757684" cy="1382638"/>
          </a:xfrm>
        </p:grpSpPr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E4DC38A1-6811-4A05-93CA-9C62759E2267}"/>
                </a:ext>
              </a:extLst>
            </p:cNvPr>
            <p:cNvSpPr/>
            <p:nvPr/>
          </p:nvSpPr>
          <p:spPr>
            <a:xfrm>
              <a:off x="823415" y="3354953"/>
              <a:ext cx="3757684" cy="1382638"/>
            </a:xfrm>
            <a:prstGeom prst="ellipse">
              <a:avLst/>
            </a:prstGeom>
            <a:noFill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P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F57FAB29-A2D9-4888-9DE5-B3984F7E7F80}"/>
                </a:ext>
              </a:extLst>
            </p:cNvPr>
            <p:cNvSpPr txBox="1"/>
            <p:nvPr/>
          </p:nvSpPr>
          <p:spPr>
            <a:xfrm>
              <a:off x="904185" y="3363551"/>
              <a:ext cx="77931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aram</a:t>
              </a:r>
              <a:endParaRPr kumimoji="0" lang="es-P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80" name="Group 79">
            <a:extLst>
              <a:ext uri="{FF2B5EF4-FFF2-40B4-BE49-F238E27FC236}">
                <a16:creationId xmlns:a16="http://schemas.microsoft.com/office/drawing/2014/main" id="{56945973-FBF9-46B1-A4B3-36E5648F328D}"/>
              </a:ext>
            </a:extLst>
          </p:cNvPr>
          <p:cNvGrpSpPr/>
          <p:nvPr/>
        </p:nvGrpSpPr>
        <p:grpSpPr>
          <a:xfrm>
            <a:off x="823415" y="4623392"/>
            <a:ext cx="3757684" cy="1397312"/>
            <a:chOff x="823415" y="4568801"/>
            <a:chExt cx="3757684" cy="1397312"/>
          </a:xfrm>
        </p:grpSpPr>
        <p:sp>
          <p:nvSpPr>
            <p:cNvPr id="54" name="Oval 53">
              <a:extLst>
                <a:ext uri="{FF2B5EF4-FFF2-40B4-BE49-F238E27FC236}">
                  <a16:creationId xmlns:a16="http://schemas.microsoft.com/office/drawing/2014/main" id="{C8B457D3-CD42-4AD7-B9D0-8273A5CD7FCC}"/>
                </a:ext>
              </a:extLst>
            </p:cNvPr>
            <p:cNvSpPr/>
            <p:nvPr/>
          </p:nvSpPr>
          <p:spPr>
            <a:xfrm>
              <a:off x="823415" y="4583475"/>
              <a:ext cx="3757684" cy="1382638"/>
            </a:xfrm>
            <a:prstGeom prst="ellipse">
              <a:avLst/>
            </a:prstGeom>
            <a:noFill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P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7FA85969-6BE6-4E72-A213-BA9C4CF974D3}"/>
                </a:ext>
              </a:extLst>
            </p:cNvPr>
            <p:cNvSpPr txBox="1"/>
            <p:nvPr/>
          </p:nvSpPr>
          <p:spPr>
            <a:xfrm>
              <a:off x="872897" y="4568801"/>
              <a:ext cx="77931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aram</a:t>
              </a:r>
              <a:endParaRPr kumimoji="0" lang="es-P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82" name="Group 81">
            <a:extLst>
              <a:ext uri="{FF2B5EF4-FFF2-40B4-BE49-F238E27FC236}">
                <a16:creationId xmlns:a16="http://schemas.microsoft.com/office/drawing/2014/main" id="{8564258E-2384-4448-84AF-12F88DAC32AF}"/>
              </a:ext>
            </a:extLst>
          </p:cNvPr>
          <p:cNvGrpSpPr/>
          <p:nvPr/>
        </p:nvGrpSpPr>
        <p:grpSpPr>
          <a:xfrm>
            <a:off x="3329543" y="3640768"/>
            <a:ext cx="5258869" cy="1528980"/>
            <a:chOff x="3329543" y="3586177"/>
            <a:chExt cx="5258869" cy="1528980"/>
          </a:xfrm>
        </p:grpSpPr>
        <p:sp>
          <p:nvSpPr>
            <p:cNvPr id="56" name="Oval 55">
              <a:extLst>
                <a:ext uri="{FF2B5EF4-FFF2-40B4-BE49-F238E27FC236}">
                  <a16:creationId xmlns:a16="http://schemas.microsoft.com/office/drawing/2014/main" id="{DE549BDB-CCAF-4CB8-93AA-027DB1015DE3}"/>
                </a:ext>
              </a:extLst>
            </p:cNvPr>
            <p:cNvSpPr/>
            <p:nvPr/>
          </p:nvSpPr>
          <p:spPr>
            <a:xfrm rot="19927783">
              <a:off x="3329543" y="3586177"/>
              <a:ext cx="5258869" cy="1525866"/>
            </a:xfrm>
            <a:prstGeom prst="ellipse">
              <a:avLst/>
            </a:prstGeom>
            <a:noFill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P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F2509B14-6AB8-436B-9BAE-CFD82EED0166}"/>
                </a:ext>
              </a:extLst>
            </p:cNvPr>
            <p:cNvSpPr txBox="1"/>
            <p:nvPr/>
          </p:nvSpPr>
          <p:spPr>
            <a:xfrm>
              <a:off x="6067116" y="4745825"/>
              <a:ext cx="77931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aram</a:t>
              </a:r>
              <a:endParaRPr kumimoji="0" lang="es-P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79" name="Group 78">
            <a:extLst>
              <a:ext uri="{FF2B5EF4-FFF2-40B4-BE49-F238E27FC236}">
                <a16:creationId xmlns:a16="http://schemas.microsoft.com/office/drawing/2014/main" id="{555A1B05-4B45-42B6-BA30-51C45187B393}"/>
              </a:ext>
            </a:extLst>
          </p:cNvPr>
          <p:cNvGrpSpPr/>
          <p:nvPr/>
        </p:nvGrpSpPr>
        <p:grpSpPr>
          <a:xfrm>
            <a:off x="3437682" y="3053667"/>
            <a:ext cx="5258869" cy="1539390"/>
            <a:chOff x="3437682" y="2999076"/>
            <a:chExt cx="5258869" cy="1539390"/>
          </a:xfrm>
        </p:grpSpPr>
        <p:sp>
          <p:nvSpPr>
            <p:cNvPr id="52" name="Oval 51">
              <a:extLst>
                <a:ext uri="{FF2B5EF4-FFF2-40B4-BE49-F238E27FC236}">
                  <a16:creationId xmlns:a16="http://schemas.microsoft.com/office/drawing/2014/main" id="{3C9D5E4B-BFC2-418F-92C4-D5A3547FB886}"/>
                </a:ext>
              </a:extLst>
            </p:cNvPr>
            <p:cNvSpPr/>
            <p:nvPr/>
          </p:nvSpPr>
          <p:spPr>
            <a:xfrm rot="21142556">
              <a:off x="3437682" y="3012600"/>
              <a:ext cx="5258869" cy="1525866"/>
            </a:xfrm>
            <a:prstGeom prst="ellipse">
              <a:avLst/>
            </a:prstGeom>
            <a:noFill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P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E959779A-C75B-42A0-8350-5D737C3A2C99}"/>
                </a:ext>
              </a:extLst>
            </p:cNvPr>
            <p:cNvSpPr txBox="1"/>
            <p:nvPr/>
          </p:nvSpPr>
          <p:spPr>
            <a:xfrm>
              <a:off x="4635839" y="2999076"/>
              <a:ext cx="77931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aram</a:t>
              </a:r>
              <a:endParaRPr kumimoji="0" lang="es-P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84" name="Rectangle 83">
            <a:extLst>
              <a:ext uri="{FF2B5EF4-FFF2-40B4-BE49-F238E27FC236}">
                <a16:creationId xmlns:a16="http://schemas.microsoft.com/office/drawing/2014/main" id="{FE5096C6-94AD-4468-A926-F8A796F1440C}"/>
              </a:ext>
            </a:extLst>
          </p:cNvPr>
          <p:cNvSpPr/>
          <p:nvPr/>
        </p:nvSpPr>
        <p:spPr>
          <a:xfrm>
            <a:off x="9551158" y="250170"/>
            <a:ext cx="1906138" cy="3502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RM Template Parameters</a:t>
            </a:r>
            <a:endParaRPr kumimoji="0" lang="es-PE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8BF4471E-A76A-4D10-AA89-625E1A9609B5}"/>
              </a:ext>
            </a:extLst>
          </p:cNvPr>
          <p:cNvSpPr txBox="1"/>
          <p:nvPr/>
        </p:nvSpPr>
        <p:spPr>
          <a:xfrm>
            <a:off x="8980575" y="948225"/>
            <a:ext cx="3047304" cy="54476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"</a:t>
            </a:r>
            <a:r>
              <a:rPr kumimoji="0" lang="es-PE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icrosoft.DataFactory</a:t>
            </a:r>
            <a:r>
              <a:rPr kumimoji="0" lang="es-PE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/</a:t>
            </a:r>
            <a:r>
              <a:rPr kumimoji="0" lang="es-PE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actories</a:t>
            </a:r>
            <a:r>
              <a:rPr kumimoji="0" lang="es-PE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/</a:t>
            </a:r>
            <a:r>
              <a:rPr kumimoji="0" lang="es-PE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iggers</a:t>
            </a:r>
            <a:r>
              <a:rPr kumimoji="0" lang="es-PE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": {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     "</a:t>
            </a:r>
            <a:r>
              <a:rPr kumimoji="0" lang="es-PE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perties</a:t>
            </a:r>
            <a:r>
              <a:rPr kumimoji="0" lang="es-PE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": {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         "pipelines": [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             {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                 "</a:t>
            </a:r>
            <a:r>
              <a:rPr kumimoji="0" lang="es-PE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rameters</a:t>
            </a:r>
            <a:r>
              <a:rPr kumimoji="0" lang="es-PE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": {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                     "*": "="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                 }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             }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             "</a:t>
            </a:r>
            <a:r>
              <a:rPr kumimoji="0" lang="es-PE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ipelineReference.referenceName</a:t>
            </a:r>
            <a:r>
              <a:rPr kumimoji="0" lang="es-PE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"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         ]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         "pipeline": {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             "</a:t>
            </a:r>
            <a:r>
              <a:rPr kumimoji="0" lang="es-PE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rameters</a:t>
            </a:r>
            <a:r>
              <a:rPr kumimoji="0" lang="es-PE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": {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                 "*": "="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             }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         }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         "</a:t>
            </a:r>
            <a:r>
              <a:rPr kumimoji="0" lang="es-PE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ypeProperties</a:t>
            </a:r>
            <a:r>
              <a:rPr kumimoji="0" lang="es-PE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": {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             "</a:t>
            </a:r>
            <a:r>
              <a:rPr kumimoji="0" lang="es-PE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ope</a:t>
            </a:r>
            <a:r>
              <a:rPr kumimoji="0" lang="es-PE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": "="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         }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     }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 }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7" name="Right Brace 86">
            <a:extLst>
              <a:ext uri="{FF2B5EF4-FFF2-40B4-BE49-F238E27FC236}">
                <a16:creationId xmlns:a16="http://schemas.microsoft.com/office/drawing/2014/main" id="{4B71692A-AC6B-4F29-9447-D3FAFEAF750A}"/>
              </a:ext>
            </a:extLst>
          </p:cNvPr>
          <p:cNvSpPr/>
          <p:nvPr/>
        </p:nvSpPr>
        <p:spPr>
          <a:xfrm>
            <a:off x="8494535" y="762027"/>
            <a:ext cx="623773" cy="563652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5229C993-4757-4F79-A0FC-F667A13D2AAC}"/>
              </a:ext>
            </a:extLst>
          </p:cNvPr>
          <p:cNvSpPr/>
          <p:nvPr/>
        </p:nvSpPr>
        <p:spPr>
          <a:xfrm>
            <a:off x="9813677" y="5956673"/>
            <a:ext cx="1906138" cy="625395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upera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l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ímite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e 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rámetros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rmitidos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(256)</a:t>
            </a:r>
            <a:endParaRPr kumimoji="0" lang="es-PE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125182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6" grpId="0"/>
      <p:bldP spid="87" grpId="0" animBg="1"/>
      <p:bldP spid="89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Solución</a:t>
            </a:r>
            <a:r>
              <a:rPr lang="en-US" dirty="0"/>
              <a:t> 1</a:t>
            </a:r>
          </a:p>
        </p:txBody>
      </p:sp>
    </p:spTree>
    <p:extLst>
      <p:ext uri="{BB962C8B-B14F-4D97-AF65-F5344CB8AC3E}">
        <p14:creationId xmlns:p14="http://schemas.microsoft.com/office/powerpoint/2010/main" val="2140441472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366ADD9-A38A-4611-A51C-34764752A05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9240" y="1345720"/>
            <a:ext cx="11653523" cy="1292662"/>
          </a:xfrm>
        </p:spPr>
        <p:txBody>
          <a:bodyPr/>
          <a:lstStyle/>
          <a:p>
            <a:pPr marL="0" indent="0">
              <a:buNone/>
            </a:pP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Una </a:t>
            </a:r>
            <a:r>
              <a:rPr lang="en-US" sz="2000" dirty="0" err="1">
                <a:solidFill>
                  <a:srgbClr val="171717"/>
                </a:solidFill>
                <a:latin typeface="Segoe UI" panose="020B0502040204020203" pitchFamily="34" charset="0"/>
              </a:rPr>
              <a:t>salida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rgbClr val="171717"/>
                </a:solidFill>
                <a:latin typeface="Segoe UI" panose="020B0502040204020203" pitchFamily="34" charset="0"/>
              </a:rPr>
              <a:t>rápida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 es </a:t>
            </a:r>
            <a:r>
              <a:rPr lang="en-US" sz="2000" dirty="0" err="1">
                <a:solidFill>
                  <a:srgbClr val="171717"/>
                </a:solidFill>
                <a:latin typeface="Segoe UI" panose="020B0502040204020203" pitchFamily="34" charset="0"/>
              </a:rPr>
              <a:t>retirar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rgbClr val="171717"/>
                </a:solidFill>
                <a:latin typeface="Segoe UI" panose="020B0502040204020203" pitchFamily="34" charset="0"/>
              </a:rPr>
              <a:t>los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rgbClr val="171717"/>
                </a:solidFill>
                <a:latin typeface="Segoe UI" panose="020B0502040204020203" pitchFamily="34" charset="0"/>
              </a:rPr>
              <a:t>parámetros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rgbClr val="171717"/>
                </a:solidFill>
                <a:latin typeface="Segoe UI" panose="020B0502040204020203" pitchFamily="34" charset="0"/>
              </a:rPr>
              <a:t>correspondientes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 a </a:t>
            </a:r>
            <a:r>
              <a:rPr lang="en-US" sz="2000" dirty="0" err="1">
                <a:solidFill>
                  <a:srgbClr val="171717"/>
                </a:solidFill>
                <a:latin typeface="Segoe UI" panose="020B0502040204020203" pitchFamily="34" charset="0"/>
              </a:rPr>
              <a:t>los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 triggers de la </a:t>
            </a:r>
            <a:r>
              <a:rPr lang="en-US" sz="2000" dirty="0" err="1">
                <a:solidFill>
                  <a:srgbClr val="171717"/>
                </a:solidFill>
                <a:latin typeface="Segoe UI" panose="020B0502040204020203" pitchFamily="34" charset="0"/>
              </a:rPr>
              <a:t>plantilla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 de ARM. Sin embargo, </a:t>
            </a:r>
            <a:r>
              <a:rPr lang="en-US" sz="2000" dirty="0" err="1">
                <a:solidFill>
                  <a:srgbClr val="171717"/>
                </a:solidFill>
                <a:latin typeface="Segoe UI" panose="020B0502040204020203" pitchFamily="34" charset="0"/>
              </a:rPr>
              <a:t>esto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rgbClr val="171717"/>
                </a:solidFill>
                <a:latin typeface="Segoe UI" panose="020B0502040204020203" pitchFamily="34" charset="0"/>
              </a:rPr>
              <a:t>implicará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rgbClr val="171717"/>
                </a:solidFill>
                <a:latin typeface="Segoe UI" panose="020B0502040204020203" pitchFamily="34" charset="0"/>
              </a:rPr>
              <a:t>agregar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 un paso que </a:t>
            </a:r>
            <a:r>
              <a:rPr lang="en-US" sz="2000" dirty="0" err="1">
                <a:solidFill>
                  <a:srgbClr val="171717"/>
                </a:solidFill>
                <a:latin typeface="Segoe UI" panose="020B0502040204020203" pitchFamily="34" charset="0"/>
              </a:rPr>
              <a:t>reemplace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rgbClr val="171717"/>
                </a:solidFill>
                <a:latin typeface="Segoe UI" panose="020B0502040204020203" pitchFamily="34" charset="0"/>
              </a:rPr>
              <a:t>en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rgbClr val="171717"/>
                </a:solidFill>
                <a:latin typeface="Segoe UI" panose="020B0502040204020203" pitchFamily="34" charset="0"/>
              </a:rPr>
              <a:t>el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rgbClr val="171717"/>
                </a:solidFill>
                <a:latin typeface="Segoe UI" panose="020B0502040204020203" pitchFamily="34" charset="0"/>
              </a:rPr>
              <a:t>ambiente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rgbClr val="171717"/>
                </a:solidFill>
                <a:latin typeface="Segoe UI" panose="020B0502040204020203" pitchFamily="34" charset="0"/>
              </a:rPr>
              <a:t>productivo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rgbClr val="171717"/>
                </a:solidFill>
                <a:latin typeface="Segoe UI" panose="020B0502040204020203" pitchFamily="34" charset="0"/>
              </a:rPr>
              <a:t>el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 Storage Account </a:t>
            </a:r>
            <a:r>
              <a:rPr lang="en-US" sz="2000" dirty="0" err="1">
                <a:solidFill>
                  <a:srgbClr val="171717"/>
                </a:solidFill>
                <a:latin typeface="Segoe UI" panose="020B0502040204020203" pitchFamily="34" charset="0"/>
              </a:rPr>
              <a:t>por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rgbClr val="171717"/>
                </a:solidFill>
                <a:latin typeface="Segoe UI" panose="020B0502040204020203" pitchFamily="34" charset="0"/>
              </a:rPr>
              <a:t>el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 que </a:t>
            </a:r>
            <a:r>
              <a:rPr lang="en-US" sz="2000" dirty="0" err="1">
                <a:solidFill>
                  <a:srgbClr val="171717"/>
                </a:solidFill>
                <a:latin typeface="Segoe UI" panose="020B0502040204020203" pitchFamily="34" charset="0"/>
              </a:rPr>
              <a:t>corresponde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rgbClr val="171717"/>
                </a:solidFill>
                <a:latin typeface="Segoe UI" panose="020B0502040204020203" pitchFamily="34" charset="0"/>
              </a:rPr>
              <a:t>en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rgbClr val="171717"/>
                </a:solidFill>
                <a:latin typeface="Segoe UI" panose="020B0502040204020203" pitchFamily="34" charset="0"/>
              </a:rPr>
              <a:t>producción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. Más Adelante, </a:t>
            </a:r>
            <a:r>
              <a:rPr lang="en-US" sz="2000" dirty="0" err="1">
                <a:solidFill>
                  <a:srgbClr val="171717"/>
                </a:solidFill>
                <a:latin typeface="Segoe UI" panose="020B0502040204020203" pitchFamily="34" charset="0"/>
              </a:rPr>
              <a:t>incluso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rgbClr val="171717"/>
                </a:solidFill>
                <a:latin typeface="Segoe UI" panose="020B0502040204020203" pitchFamily="34" charset="0"/>
              </a:rPr>
              <a:t>podrían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rgbClr val="171717"/>
                </a:solidFill>
                <a:latin typeface="Segoe UI" panose="020B0502040204020203" pitchFamily="34" charset="0"/>
              </a:rPr>
              <a:t>llegar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 al </a:t>
            </a:r>
            <a:r>
              <a:rPr lang="en-US" sz="2000" dirty="0" err="1">
                <a:solidFill>
                  <a:srgbClr val="171717"/>
                </a:solidFill>
                <a:latin typeface="Segoe UI" panose="020B0502040204020203" pitchFamily="34" charset="0"/>
              </a:rPr>
              <a:t>límite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 de storage event type que es de 500, lo </a:t>
            </a:r>
            <a:r>
              <a:rPr lang="en-US" sz="2000" dirty="0" err="1">
                <a:solidFill>
                  <a:srgbClr val="171717"/>
                </a:solidFill>
                <a:latin typeface="Segoe UI" panose="020B0502040204020203" pitchFamily="34" charset="0"/>
              </a:rPr>
              <a:t>cual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rgbClr val="171717"/>
                </a:solidFill>
                <a:latin typeface="Segoe UI" panose="020B0502040204020203" pitchFamily="34" charset="0"/>
              </a:rPr>
              <a:t>implicará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rgbClr val="171717"/>
                </a:solidFill>
                <a:latin typeface="Segoe UI" panose="020B0502040204020203" pitchFamily="34" charset="0"/>
              </a:rPr>
              <a:t>volver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 a </a:t>
            </a:r>
            <a:r>
              <a:rPr lang="en-US" sz="2000" dirty="0" err="1">
                <a:solidFill>
                  <a:srgbClr val="171717"/>
                </a:solidFill>
                <a:latin typeface="Segoe UI" panose="020B0502040204020203" pitchFamily="34" charset="0"/>
              </a:rPr>
              <a:t>revisar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rgbClr val="171717"/>
                </a:solidFill>
                <a:latin typeface="Segoe UI" panose="020B0502040204020203" pitchFamily="34" charset="0"/>
              </a:rPr>
              <a:t>el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rgbClr val="171717"/>
                </a:solidFill>
                <a:latin typeface="Segoe UI" panose="020B0502040204020203" pitchFamily="34" charset="0"/>
              </a:rPr>
              <a:t>escenario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.</a:t>
            </a:r>
            <a:endParaRPr lang="es-PE" sz="4000" dirty="0">
              <a:solidFill>
                <a:srgbClr val="171717"/>
              </a:solidFill>
              <a:latin typeface="Segoe UI" panose="020B0502040204020203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DD5D076-BC56-4259-B3EA-22D95CECD5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Solución</a:t>
            </a:r>
            <a:r>
              <a:rPr lang="en-US" dirty="0"/>
              <a:t> 1</a:t>
            </a:r>
            <a:endParaRPr lang="es-PE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0A157AF-E85D-4BD9-A146-FAFC6B09302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8FEED8F-67A2-46EA-A24C-A41FAFDEBE62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7058021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ghtning Bolt 3">
            <a:extLst>
              <a:ext uri="{FF2B5EF4-FFF2-40B4-BE49-F238E27FC236}">
                <a16:creationId xmlns:a16="http://schemas.microsoft.com/office/drawing/2014/main" id="{5D32EF5E-B56D-419A-BDCB-A6B79D3678AB}"/>
              </a:ext>
            </a:extLst>
          </p:cNvPr>
          <p:cNvSpPr/>
          <p:nvPr/>
        </p:nvSpPr>
        <p:spPr>
          <a:xfrm>
            <a:off x="3885063" y="1201006"/>
            <a:ext cx="464024" cy="918949"/>
          </a:xfrm>
          <a:prstGeom prst="lightningBol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Lightning Bolt 5">
            <a:extLst>
              <a:ext uri="{FF2B5EF4-FFF2-40B4-BE49-F238E27FC236}">
                <a16:creationId xmlns:a16="http://schemas.microsoft.com/office/drawing/2014/main" id="{1506C21E-4AFD-447A-9A91-9F60C9056CB1}"/>
              </a:ext>
            </a:extLst>
          </p:cNvPr>
          <p:cNvSpPr/>
          <p:nvPr/>
        </p:nvSpPr>
        <p:spPr>
          <a:xfrm>
            <a:off x="3885063" y="2415656"/>
            <a:ext cx="464024" cy="918949"/>
          </a:xfrm>
          <a:prstGeom prst="lightningBol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Lightning Bolt 7">
            <a:extLst>
              <a:ext uri="{FF2B5EF4-FFF2-40B4-BE49-F238E27FC236}">
                <a16:creationId xmlns:a16="http://schemas.microsoft.com/office/drawing/2014/main" id="{29007855-A21D-4C26-B729-275F9D6F0F39}"/>
              </a:ext>
            </a:extLst>
          </p:cNvPr>
          <p:cNvSpPr/>
          <p:nvPr/>
        </p:nvSpPr>
        <p:spPr>
          <a:xfrm>
            <a:off x="3885063" y="3630307"/>
            <a:ext cx="464024" cy="918949"/>
          </a:xfrm>
          <a:prstGeom prst="lightningBol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Lightning Bolt 9">
            <a:extLst>
              <a:ext uri="{FF2B5EF4-FFF2-40B4-BE49-F238E27FC236}">
                <a16:creationId xmlns:a16="http://schemas.microsoft.com/office/drawing/2014/main" id="{C388B696-8033-461F-A8A4-6EDE41F86B8D}"/>
              </a:ext>
            </a:extLst>
          </p:cNvPr>
          <p:cNvSpPr/>
          <p:nvPr/>
        </p:nvSpPr>
        <p:spPr>
          <a:xfrm>
            <a:off x="3885063" y="4844958"/>
            <a:ext cx="464024" cy="918949"/>
          </a:xfrm>
          <a:prstGeom prst="lightningBol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C621BAF-6298-4C57-9874-E9FC6F63D566}"/>
              </a:ext>
            </a:extLst>
          </p:cNvPr>
          <p:cNvSpPr txBox="1"/>
          <p:nvPr/>
        </p:nvSpPr>
        <p:spPr>
          <a:xfrm>
            <a:off x="3998806" y="5852279"/>
            <a:ext cx="242374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</a:t>
            </a: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Cylinder 11">
            <a:extLst>
              <a:ext uri="{FF2B5EF4-FFF2-40B4-BE49-F238E27FC236}">
                <a16:creationId xmlns:a16="http://schemas.microsoft.com/office/drawing/2014/main" id="{509FC23C-E025-4C76-83D8-F3D58BF64FF2}"/>
              </a:ext>
            </a:extLst>
          </p:cNvPr>
          <p:cNvSpPr/>
          <p:nvPr/>
        </p:nvSpPr>
        <p:spPr>
          <a:xfrm rot="5400000">
            <a:off x="7105935" y="2984315"/>
            <a:ext cx="896203" cy="1191950"/>
          </a:xfrm>
          <a:prstGeom prst="ca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6" name="Connector: Elbow 15">
            <a:extLst>
              <a:ext uri="{FF2B5EF4-FFF2-40B4-BE49-F238E27FC236}">
                <a16:creationId xmlns:a16="http://schemas.microsoft.com/office/drawing/2014/main" id="{E14D4AE1-464B-47AE-B00F-0492B39938CA}"/>
              </a:ext>
            </a:extLst>
          </p:cNvPr>
          <p:cNvCxnSpPr>
            <a:stCxn id="4" idx="6"/>
            <a:endCxn id="12" idx="3"/>
          </p:cNvCxnSpPr>
          <p:nvPr/>
        </p:nvCxnSpPr>
        <p:spPr>
          <a:xfrm>
            <a:off x="4161329" y="1459673"/>
            <a:ext cx="2796733" cy="2120618"/>
          </a:xfrm>
          <a:prstGeom prst="bentConnector3">
            <a:avLst>
              <a:gd name="adj1" fmla="val 51464"/>
            </a:avLst>
          </a:prstGeom>
          <a:ln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nector: Elbow 17">
            <a:extLst>
              <a:ext uri="{FF2B5EF4-FFF2-40B4-BE49-F238E27FC236}">
                <a16:creationId xmlns:a16="http://schemas.microsoft.com/office/drawing/2014/main" id="{BF225E03-FDF6-428D-94A1-2352B1E5562F}"/>
              </a:ext>
            </a:extLst>
          </p:cNvPr>
          <p:cNvCxnSpPr>
            <a:stCxn id="6" idx="5"/>
            <a:endCxn id="12" idx="3"/>
          </p:cNvCxnSpPr>
          <p:nvPr/>
        </p:nvCxnSpPr>
        <p:spPr>
          <a:xfrm>
            <a:off x="4241180" y="2926481"/>
            <a:ext cx="2716882" cy="653810"/>
          </a:xfrm>
          <a:prstGeom prst="bentConnector3">
            <a:avLst/>
          </a:prstGeom>
          <a:ln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nector: Elbow 19">
            <a:extLst>
              <a:ext uri="{FF2B5EF4-FFF2-40B4-BE49-F238E27FC236}">
                <a16:creationId xmlns:a16="http://schemas.microsoft.com/office/drawing/2014/main" id="{6D17F994-5CB5-44F3-901D-A1013793D888}"/>
              </a:ext>
            </a:extLst>
          </p:cNvPr>
          <p:cNvCxnSpPr>
            <a:stCxn id="8" idx="5"/>
            <a:endCxn id="12" idx="3"/>
          </p:cNvCxnSpPr>
          <p:nvPr/>
        </p:nvCxnSpPr>
        <p:spPr>
          <a:xfrm flipV="1">
            <a:off x="4241180" y="3580291"/>
            <a:ext cx="2716882" cy="560841"/>
          </a:xfrm>
          <a:prstGeom prst="bentConnector3">
            <a:avLst/>
          </a:prstGeom>
          <a:ln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nector: Elbow 21">
            <a:extLst>
              <a:ext uri="{FF2B5EF4-FFF2-40B4-BE49-F238E27FC236}">
                <a16:creationId xmlns:a16="http://schemas.microsoft.com/office/drawing/2014/main" id="{0D6C0F59-74AB-4832-9C8E-BA3B796CCE6B}"/>
              </a:ext>
            </a:extLst>
          </p:cNvPr>
          <p:cNvCxnSpPr>
            <a:stCxn id="10" idx="5"/>
            <a:endCxn id="12" idx="3"/>
          </p:cNvCxnSpPr>
          <p:nvPr/>
        </p:nvCxnSpPr>
        <p:spPr>
          <a:xfrm flipV="1">
            <a:off x="4241180" y="3580291"/>
            <a:ext cx="2716882" cy="1775492"/>
          </a:xfrm>
          <a:prstGeom prst="bentConnector3">
            <a:avLst/>
          </a:prstGeom>
          <a:ln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 24">
            <a:extLst>
              <a:ext uri="{FF2B5EF4-FFF2-40B4-BE49-F238E27FC236}">
                <a16:creationId xmlns:a16="http://schemas.microsoft.com/office/drawing/2014/main" id="{7DF39155-0DD5-434B-A664-F884DB0ABA4A}"/>
              </a:ext>
            </a:extLst>
          </p:cNvPr>
          <p:cNvSpPr/>
          <p:nvPr/>
        </p:nvSpPr>
        <p:spPr>
          <a:xfrm>
            <a:off x="3698543" y="250209"/>
            <a:ext cx="1906138" cy="3502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iggers</a:t>
            </a: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966ADBD2-220D-4B4F-BF4D-DF437D87DDF1}"/>
              </a:ext>
            </a:extLst>
          </p:cNvPr>
          <p:cNvSpPr/>
          <p:nvPr/>
        </p:nvSpPr>
        <p:spPr>
          <a:xfrm>
            <a:off x="6600967" y="250170"/>
            <a:ext cx="1906138" cy="3502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ipeline</a:t>
            </a:r>
            <a:endParaRPr kumimoji="0" lang="es-P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FB179741-4689-4700-AEFD-7A47203FF518}"/>
              </a:ext>
            </a:extLst>
          </p:cNvPr>
          <p:cNvGrpSpPr/>
          <p:nvPr/>
        </p:nvGrpSpPr>
        <p:grpSpPr>
          <a:xfrm>
            <a:off x="1075762" y="1337314"/>
            <a:ext cx="1893617" cy="646331"/>
            <a:chOff x="254758" y="845992"/>
            <a:chExt cx="1893617" cy="646331"/>
          </a:xfrm>
        </p:grpSpPr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F9430C45-7344-4EAB-83B1-40F71D368441}"/>
                </a:ext>
              </a:extLst>
            </p:cNvPr>
            <p:cNvSpPr/>
            <p:nvPr/>
          </p:nvSpPr>
          <p:spPr>
            <a:xfrm>
              <a:off x="254758" y="868907"/>
              <a:ext cx="1874293" cy="600502"/>
            </a:xfrm>
            <a:prstGeom prst="rect">
              <a:avLst/>
            </a:prstGeom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P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0B5EBE73-2762-4A10-884F-DF791C133481}"/>
                </a:ext>
              </a:extLst>
            </p:cNvPr>
            <p:cNvSpPr txBox="1"/>
            <p:nvPr/>
          </p:nvSpPr>
          <p:spPr>
            <a:xfrm>
              <a:off x="274082" y="845992"/>
              <a:ext cx="1874293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torage Account: </a:t>
              </a:r>
              <a:r>
                <a:rPr kumimoji="0" lang="en-US" sz="12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xyzDEV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Container: input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Archivo</a:t>
              </a: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: abcd.txt</a:t>
              </a:r>
              <a:endParaRPr kumimoji="0" lang="es-P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D66E693B-B420-4EBC-89B6-F6CC15D461AE}"/>
              </a:ext>
            </a:extLst>
          </p:cNvPr>
          <p:cNvGrpSpPr/>
          <p:nvPr/>
        </p:nvGrpSpPr>
        <p:grpSpPr>
          <a:xfrm>
            <a:off x="1066099" y="2551964"/>
            <a:ext cx="1893617" cy="646331"/>
            <a:chOff x="254758" y="845992"/>
            <a:chExt cx="1893617" cy="646331"/>
          </a:xfrm>
        </p:grpSpPr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3B10DD45-E3FD-4A65-AB4B-EB3947FF2B80}"/>
                </a:ext>
              </a:extLst>
            </p:cNvPr>
            <p:cNvSpPr/>
            <p:nvPr/>
          </p:nvSpPr>
          <p:spPr>
            <a:xfrm>
              <a:off x="254758" y="868907"/>
              <a:ext cx="1874293" cy="600502"/>
            </a:xfrm>
            <a:prstGeom prst="rect">
              <a:avLst/>
            </a:prstGeom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P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C9A163E5-3476-4EA6-A2CC-5992477025DE}"/>
                </a:ext>
              </a:extLst>
            </p:cNvPr>
            <p:cNvSpPr txBox="1"/>
            <p:nvPr/>
          </p:nvSpPr>
          <p:spPr>
            <a:xfrm>
              <a:off x="274082" y="845992"/>
              <a:ext cx="1874293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torage Account: </a:t>
              </a:r>
              <a:r>
                <a:rPr kumimoji="0" lang="en-US" sz="12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xyzDEV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Container: input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Archivo</a:t>
              </a: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: efgh.txt</a:t>
              </a:r>
              <a:endParaRPr kumimoji="0" lang="es-P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D786CAEC-4617-4A0B-BD5A-F6294EC67765}"/>
              </a:ext>
            </a:extLst>
          </p:cNvPr>
          <p:cNvGrpSpPr/>
          <p:nvPr/>
        </p:nvGrpSpPr>
        <p:grpSpPr>
          <a:xfrm>
            <a:off x="1094181" y="3762232"/>
            <a:ext cx="1893617" cy="646331"/>
            <a:chOff x="254758" y="845992"/>
            <a:chExt cx="1893617" cy="646331"/>
          </a:xfrm>
        </p:grpSpPr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215C2B8E-BB5A-4018-ABB4-B76F386BB429}"/>
                </a:ext>
              </a:extLst>
            </p:cNvPr>
            <p:cNvSpPr/>
            <p:nvPr/>
          </p:nvSpPr>
          <p:spPr>
            <a:xfrm>
              <a:off x="254758" y="868907"/>
              <a:ext cx="1874293" cy="600502"/>
            </a:xfrm>
            <a:prstGeom prst="rect">
              <a:avLst/>
            </a:prstGeom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P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EAD9E499-3044-4B9C-B42F-879A64295240}"/>
                </a:ext>
              </a:extLst>
            </p:cNvPr>
            <p:cNvSpPr txBox="1"/>
            <p:nvPr/>
          </p:nvSpPr>
          <p:spPr>
            <a:xfrm>
              <a:off x="274082" y="845992"/>
              <a:ext cx="1874293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torage Account: </a:t>
              </a:r>
              <a:r>
                <a:rPr kumimoji="0" lang="en-US" sz="12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xyzDEV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Container: input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Archivo</a:t>
              </a: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: ijkl.txt</a:t>
              </a:r>
              <a:endParaRPr kumimoji="0" lang="es-P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DB968B01-5852-433D-ACF7-4E937D33AECF}"/>
              </a:ext>
            </a:extLst>
          </p:cNvPr>
          <p:cNvGrpSpPr/>
          <p:nvPr/>
        </p:nvGrpSpPr>
        <p:grpSpPr>
          <a:xfrm>
            <a:off x="1103842" y="4981266"/>
            <a:ext cx="1893617" cy="646331"/>
            <a:chOff x="254758" y="845992"/>
            <a:chExt cx="1893617" cy="646331"/>
          </a:xfrm>
        </p:grpSpPr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9EB3EEBE-EE87-4B30-BBD4-CADD95C36448}"/>
                </a:ext>
              </a:extLst>
            </p:cNvPr>
            <p:cNvSpPr/>
            <p:nvPr/>
          </p:nvSpPr>
          <p:spPr>
            <a:xfrm>
              <a:off x="254758" y="868907"/>
              <a:ext cx="1874293" cy="600502"/>
            </a:xfrm>
            <a:prstGeom prst="rect">
              <a:avLst/>
            </a:prstGeom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P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3AF6217B-DE16-43A6-9106-BD490513A4AD}"/>
                </a:ext>
              </a:extLst>
            </p:cNvPr>
            <p:cNvSpPr txBox="1"/>
            <p:nvPr/>
          </p:nvSpPr>
          <p:spPr>
            <a:xfrm>
              <a:off x="274082" y="845992"/>
              <a:ext cx="1874293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torage Account: </a:t>
              </a:r>
              <a:r>
                <a:rPr kumimoji="0" lang="en-US" sz="12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xyzDEV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Container: input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Archivo</a:t>
              </a: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: mnop.txt</a:t>
              </a:r>
              <a:endParaRPr kumimoji="0" lang="es-P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74" name="Group 73">
            <a:extLst>
              <a:ext uri="{FF2B5EF4-FFF2-40B4-BE49-F238E27FC236}">
                <a16:creationId xmlns:a16="http://schemas.microsoft.com/office/drawing/2014/main" id="{68C79684-0F86-4699-82EF-1F6467E56B59}"/>
              </a:ext>
            </a:extLst>
          </p:cNvPr>
          <p:cNvGrpSpPr/>
          <p:nvPr/>
        </p:nvGrpSpPr>
        <p:grpSpPr>
          <a:xfrm>
            <a:off x="823415" y="627877"/>
            <a:ext cx="3757684" cy="1702986"/>
            <a:chOff x="823415" y="573286"/>
            <a:chExt cx="3757684" cy="1702986"/>
          </a:xfrm>
        </p:grpSpPr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BD19D1DC-7958-4AA1-A20B-9FF09C259CEB}"/>
                </a:ext>
              </a:extLst>
            </p:cNvPr>
            <p:cNvSpPr/>
            <p:nvPr/>
          </p:nvSpPr>
          <p:spPr>
            <a:xfrm>
              <a:off x="823415" y="893634"/>
              <a:ext cx="3757684" cy="1382638"/>
            </a:xfrm>
            <a:prstGeom prst="ellipse">
              <a:avLst/>
            </a:prstGeom>
            <a:noFill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P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A1EFD4E1-627B-4A78-876A-A169CC5E178B}"/>
                </a:ext>
              </a:extLst>
            </p:cNvPr>
            <p:cNvSpPr txBox="1"/>
            <p:nvPr/>
          </p:nvSpPr>
          <p:spPr>
            <a:xfrm>
              <a:off x="1922941" y="573286"/>
              <a:ext cx="77931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aram</a:t>
              </a:r>
              <a:endParaRPr kumimoji="0" lang="es-P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75" name="Group 74">
            <a:extLst>
              <a:ext uri="{FF2B5EF4-FFF2-40B4-BE49-F238E27FC236}">
                <a16:creationId xmlns:a16="http://schemas.microsoft.com/office/drawing/2014/main" id="{0C7A35E6-BE54-44DB-A911-1D6FA63A53D5}"/>
              </a:ext>
            </a:extLst>
          </p:cNvPr>
          <p:cNvGrpSpPr/>
          <p:nvPr/>
        </p:nvGrpSpPr>
        <p:grpSpPr>
          <a:xfrm>
            <a:off x="3332049" y="1679946"/>
            <a:ext cx="5285469" cy="1576308"/>
            <a:chOff x="3332049" y="1625355"/>
            <a:chExt cx="5285469" cy="1576308"/>
          </a:xfrm>
        </p:grpSpPr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F3F91884-8D91-4052-AF98-09BF9A69BE7D}"/>
                </a:ext>
              </a:extLst>
            </p:cNvPr>
            <p:cNvSpPr/>
            <p:nvPr/>
          </p:nvSpPr>
          <p:spPr>
            <a:xfrm rot="1466499">
              <a:off x="3332049" y="1675797"/>
              <a:ext cx="5285469" cy="1525866"/>
            </a:xfrm>
            <a:prstGeom prst="ellipse">
              <a:avLst/>
            </a:prstGeom>
            <a:noFill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P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2BFC45BC-5FBF-4131-B600-2D4BCA82A67B}"/>
                </a:ext>
              </a:extLst>
            </p:cNvPr>
            <p:cNvSpPr txBox="1"/>
            <p:nvPr/>
          </p:nvSpPr>
          <p:spPr>
            <a:xfrm>
              <a:off x="6183295" y="1625355"/>
              <a:ext cx="77931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aram</a:t>
              </a:r>
              <a:endParaRPr kumimoji="0" lang="es-P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77" name="Group 76">
            <a:extLst>
              <a:ext uri="{FF2B5EF4-FFF2-40B4-BE49-F238E27FC236}">
                <a16:creationId xmlns:a16="http://schemas.microsoft.com/office/drawing/2014/main" id="{9B2F80DC-9E69-4281-85AF-29D9762018F2}"/>
              </a:ext>
            </a:extLst>
          </p:cNvPr>
          <p:cNvGrpSpPr/>
          <p:nvPr/>
        </p:nvGrpSpPr>
        <p:grpSpPr>
          <a:xfrm>
            <a:off x="3466566" y="2315016"/>
            <a:ext cx="5258869" cy="1726699"/>
            <a:chOff x="3466566" y="2260425"/>
            <a:chExt cx="5258869" cy="1726699"/>
          </a:xfrm>
        </p:grpSpPr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A6F432D7-5640-4922-8C2D-86F6A75B0A3E}"/>
                </a:ext>
              </a:extLst>
            </p:cNvPr>
            <p:cNvSpPr/>
            <p:nvPr/>
          </p:nvSpPr>
          <p:spPr>
            <a:xfrm rot="853732">
              <a:off x="3466566" y="2461258"/>
              <a:ext cx="5258869" cy="1525866"/>
            </a:xfrm>
            <a:prstGeom prst="ellipse">
              <a:avLst/>
            </a:prstGeom>
            <a:noFill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P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E6117315-77AC-4C9D-AF6C-0730826FED2F}"/>
                </a:ext>
              </a:extLst>
            </p:cNvPr>
            <p:cNvSpPr txBox="1"/>
            <p:nvPr/>
          </p:nvSpPr>
          <p:spPr>
            <a:xfrm>
              <a:off x="5791363" y="2260425"/>
              <a:ext cx="77931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aram</a:t>
              </a:r>
              <a:endParaRPr kumimoji="0" lang="es-P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76" name="Group 75">
            <a:extLst>
              <a:ext uri="{FF2B5EF4-FFF2-40B4-BE49-F238E27FC236}">
                <a16:creationId xmlns:a16="http://schemas.microsoft.com/office/drawing/2014/main" id="{FE127B45-1107-43BB-80AD-FA5C48A1D4C0}"/>
              </a:ext>
            </a:extLst>
          </p:cNvPr>
          <p:cNvGrpSpPr/>
          <p:nvPr/>
        </p:nvGrpSpPr>
        <p:grpSpPr>
          <a:xfrm>
            <a:off x="827965" y="2201243"/>
            <a:ext cx="3757684" cy="1382638"/>
            <a:chOff x="827965" y="2146652"/>
            <a:chExt cx="3757684" cy="1382638"/>
          </a:xfrm>
        </p:grpSpPr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42C1DD91-7160-4F83-834C-888C1EEB9178}"/>
                </a:ext>
              </a:extLst>
            </p:cNvPr>
            <p:cNvSpPr/>
            <p:nvPr/>
          </p:nvSpPr>
          <p:spPr>
            <a:xfrm>
              <a:off x="827965" y="2146652"/>
              <a:ext cx="3757684" cy="1382638"/>
            </a:xfrm>
            <a:prstGeom prst="ellipse">
              <a:avLst/>
            </a:prstGeom>
            <a:noFill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P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EE15A059-17B0-40D6-B934-320EB287E18F}"/>
                </a:ext>
              </a:extLst>
            </p:cNvPr>
            <p:cNvSpPr txBox="1"/>
            <p:nvPr/>
          </p:nvSpPr>
          <p:spPr>
            <a:xfrm>
              <a:off x="872897" y="2150155"/>
              <a:ext cx="77931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aram</a:t>
              </a:r>
              <a:endParaRPr kumimoji="0" lang="es-P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78" name="Group 77">
            <a:extLst>
              <a:ext uri="{FF2B5EF4-FFF2-40B4-BE49-F238E27FC236}">
                <a16:creationId xmlns:a16="http://schemas.microsoft.com/office/drawing/2014/main" id="{1BF56E69-CE5A-4518-872C-F0AE77C62682}"/>
              </a:ext>
            </a:extLst>
          </p:cNvPr>
          <p:cNvGrpSpPr/>
          <p:nvPr/>
        </p:nvGrpSpPr>
        <p:grpSpPr>
          <a:xfrm>
            <a:off x="823415" y="3409544"/>
            <a:ext cx="3757684" cy="1382638"/>
            <a:chOff x="823415" y="3354953"/>
            <a:chExt cx="3757684" cy="1382638"/>
          </a:xfrm>
        </p:grpSpPr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E4DC38A1-6811-4A05-93CA-9C62759E2267}"/>
                </a:ext>
              </a:extLst>
            </p:cNvPr>
            <p:cNvSpPr/>
            <p:nvPr/>
          </p:nvSpPr>
          <p:spPr>
            <a:xfrm>
              <a:off x="823415" y="3354953"/>
              <a:ext cx="3757684" cy="1382638"/>
            </a:xfrm>
            <a:prstGeom prst="ellipse">
              <a:avLst/>
            </a:prstGeom>
            <a:noFill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P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F57FAB29-A2D9-4888-9DE5-B3984F7E7F80}"/>
                </a:ext>
              </a:extLst>
            </p:cNvPr>
            <p:cNvSpPr txBox="1"/>
            <p:nvPr/>
          </p:nvSpPr>
          <p:spPr>
            <a:xfrm>
              <a:off x="904185" y="3363551"/>
              <a:ext cx="77931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aram</a:t>
              </a:r>
              <a:endParaRPr kumimoji="0" lang="es-P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80" name="Group 79">
            <a:extLst>
              <a:ext uri="{FF2B5EF4-FFF2-40B4-BE49-F238E27FC236}">
                <a16:creationId xmlns:a16="http://schemas.microsoft.com/office/drawing/2014/main" id="{56945973-FBF9-46B1-A4B3-36E5648F328D}"/>
              </a:ext>
            </a:extLst>
          </p:cNvPr>
          <p:cNvGrpSpPr/>
          <p:nvPr/>
        </p:nvGrpSpPr>
        <p:grpSpPr>
          <a:xfrm>
            <a:off x="823415" y="4623392"/>
            <a:ext cx="3757684" cy="1397312"/>
            <a:chOff x="823415" y="4568801"/>
            <a:chExt cx="3757684" cy="1397312"/>
          </a:xfrm>
        </p:grpSpPr>
        <p:sp>
          <p:nvSpPr>
            <p:cNvPr id="54" name="Oval 53">
              <a:extLst>
                <a:ext uri="{FF2B5EF4-FFF2-40B4-BE49-F238E27FC236}">
                  <a16:creationId xmlns:a16="http://schemas.microsoft.com/office/drawing/2014/main" id="{C8B457D3-CD42-4AD7-B9D0-8273A5CD7FCC}"/>
                </a:ext>
              </a:extLst>
            </p:cNvPr>
            <p:cNvSpPr/>
            <p:nvPr/>
          </p:nvSpPr>
          <p:spPr>
            <a:xfrm>
              <a:off x="823415" y="4583475"/>
              <a:ext cx="3757684" cy="1382638"/>
            </a:xfrm>
            <a:prstGeom prst="ellipse">
              <a:avLst/>
            </a:prstGeom>
            <a:noFill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P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7FA85969-6BE6-4E72-A213-BA9C4CF974D3}"/>
                </a:ext>
              </a:extLst>
            </p:cNvPr>
            <p:cNvSpPr txBox="1"/>
            <p:nvPr/>
          </p:nvSpPr>
          <p:spPr>
            <a:xfrm>
              <a:off x="872897" y="4568801"/>
              <a:ext cx="77931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aram</a:t>
              </a:r>
              <a:endParaRPr kumimoji="0" lang="es-P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82" name="Group 81">
            <a:extLst>
              <a:ext uri="{FF2B5EF4-FFF2-40B4-BE49-F238E27FC236}">
                <a16:creationId xmlns:a16="http://schemas.microsoft.com/office/drawing/2014/main" id="{8564258E-2384-4448-84AF-12F88DAC32AF}"/>
              </a:ext>
            </a:extLst>
          </p:cNvPr>
          <p:cNvGrpSpPr/>
          <p:nvPr/>
        </p:nvGrpSpPr>
        <p:grpSpPr>
          <a:xfrm>
            <a:off x="3329543" y="3640768"/>
            <a:ext cx="5258869" cy="1528980"/>
            <a:chOff x="3329543" y="3586177"/>
            <a:chExt cx="5258869" cy="1528980"/>
          </a:xfrm>
        </p:grpSpPr>
        <p:sp>
          <p:nvSpPr>
            <p:cNvPr id="56" name="Oval 55">
              <a:extLst>
                <a:ext uri="{FF2B5EF4-FFF2-40B4-BE49-F238E27FC236}">
                  <a16:creationId xmlns:a16="http://schemas.microsoft.com/office/drawing/2014/main" id="{DE549BDB-CCAF-4CB8-93AA-027DB1015DE3}"/>
                </a:ext>
              </a:extLst>
            </p:cNvPr>
            <p:cNvSpPr/>
            <p:nvPr/>
          </p:nvSpPr>
          <p:spPr>
            <a:xfrm rot="19927783">
              <a:off x="3329543" y="3586177"/>
              <a:ext cx="5258869" cy="1525866"/>
            </a:xfrm>
            <a:prstGeom prst="ellipse">
              <a:avLst/>
            </a:prstGeom>
            <a:noFill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P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F2509B14-6AB8-436B-9BAE-CFD82EED0166}"/>
                </a:ext>
              </a:extLst>
            </p:cNvPr>
            <p:cNvSpPr txBox="1"/>
            <p:nvPr/>
          </p:nvSpPr>
          <p:spPr>
            <a:xfrm>
              <a:off x="6067116" y="4745825"/>
              <a:ext cx="77931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aram</a:t>
              </a:r>
              <a:endParaRPr kumimoji="0" lang="es-P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79" name="Group 78">
            <a:extLst>
              <a:ext uri="{FF2B5EF4-FFF2-40B4-BE49-F238E27FC236}">
                <a16:creationId xmlns:a16="http://schemas.microsoft.com/office/drawing/2014/main" id="{555A1B05-4B45-42B6-BA30-51C45187B393}"/>
              </a:ext>
            </a:extLst>
          </p:cNvPr>
          <p:cNvGrpSpPr/>
          <p:nvPr/>
        </p:nvGrpSpPr>
        <p:grpSpPr>
          <a:xfrm>
            <a:off x="3437682" y="3053667"/>
            <a:ext cx="5258869" cy="1539390"/>
            <a:chOff x="3437682" y="2999076"/>
            <a:chExt cx="5258869" cy="1539390"/>
          </a:xfrm>
        </p:grpSpPr>
        <p:sp>
          <p:nvSpPr>
            <p:cNvPr id="52" name="Oval 51">
              <a:extLst>
                <a:ext uri="{FF2B5EF4-FFF2-40B4-BE49-F238E27FC236}">
                  <a16:creationId xmlns:a16="http://schemas.microsoft.com/office/drawing/2014/main" id="{3C9D5E4B-BFC2-418F-92C4-D5A3547FB886}"/>
                </a:ext>
              </a:extLst>
            </p:cNvPr>
            <p:cNvSpPr/>
            <p:nvPr/>
          </p:nvSpPr>
          <p:spPr>
            <a:xfrm rot="21142556">
              <a:off x="3437682" y="3012600"/>
              <a:ext cx="5258869" cy="1525866"/>
            </a:xfrm>
            <a:prstGeom prst="ellipse">
              <a:avLst/>
            </a:prstGeom>
            <a:noFill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P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E959779A-C75B-42A0-8350-5D737C3A2C99}"/>
                </a:ext>
              </a:extLst>
            </p:cNvPr>
            <p:cNvSpPr txBox="1"/>
            <p:nvPr/>
          </p:nvSpPr>
          <p:spPr>
            <a:xfrm>
              <a:off x="4635839" y="2999076"/>
              <a:ext cx="77931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aram</a:t>
              </a:r>
              <a:endParaRPr kumimoji="0" lang="es-P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84" name="Rectangle 83">
            <a:extLst>
              <a:ext uri="{FF2B5EF4-FFF2-40B4-BE49-F238E27FC236}">
                <a16:creationId xmlns:a16="http://schemas.microsoft.com/office/drawing/2014/main" id="{FE5096C6-94AD-4468-A926-F8A796F1440C}"/>
              </a:ext>
            </a:extLst>
          </p:cNvPr>
          <p:cNvSpPr/>
          <p:nvPr/>
        </p:nvSpPr>
        <p:spPr>
          <a:xfrm>
            <a:off x="9551158" y="250170"/>
            <a:ext cx="1906138" cy="3502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RM Template Parameters</a:t>
            </a:r>
            <a:endParaRPr kumimoji="0" lang="es-PE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8BF4471E-A76A-4D10-AA89-625E1A9609B5}"/>
              </a:ext>
            </a:extLst>
          </p:cNvPr>
          <p:cNvSpPr txBox="1"/>
          <p:nvPr/>
        </p:nvSpPr>
        <p:spPr>
          <a:xfrm>
            <a:off x="8980575" y="948225"/>
            <a:ext cx="3047304" cy="54476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"</a:t>
            </a:r>
            <a:r>
              <a:rPr kumimoji="0" lang="es-PE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icrosoft.DataFactory</a:t>
            </a:r>
            <a:r>
              <a:rPr kumimoji="0" lang="es-PE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/</a:t>
            </a:r>
            <a:r>
              <a:rPr kumimoji="0" lang="es-PE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actories</a:t>
            </a:r>
            <a:r>
              <a:rPr kumimoji="0" lang="es-PE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/</a:t>
            </a:r>
            <a:r>
              <a:rPr kumimoji="0" lang="es-PE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iggers</a:t>
            </a:r>
            <a:r>
              <a:rPr kumimoji="0" lang="es-PE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": {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     "</a:t>
            </a:r>
            <a:r>
              <a:rPr kumimoji="0" lang="es-PE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perties</a:t>
            </a:r>
            <a:r>
              <a:rPr kumimoji="0" lang="es-PE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": {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         "pipelines": [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             {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                 "</a:t>
            </a:r>
            <a:r>
              <a:rPr kumimoji="0" lang="es-PE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rameters</a:t>
            </a:r>
            <a:r>
              <a:rPr kumimoji="0" lang="es-PE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": {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                     "*": "="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                 }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             }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             "</a:t>
            </a:r>
            <a:r>
              <a:rPr kumimoji="0" lang="es-PE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ipelineReference.referenceName</a:t>
            </a:r>
            <a:r>
              <a:rPr kumimoji="0" lang="es-PE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"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         ]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         "pipeline": {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             "</a:t>
            </a:r>
            <a:r>
              <a:rPr kumimoji="0" lang="es-PE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rameters</a:t>
            </a:r>
            <a:r>
              <a:rPr kumimoji="0" lang="es-PE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": {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                 "*": "="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             }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         }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         "</a:t>
            </a:r>
            <a:r>
              <a:rPr kumimoji="0" lang="es-PE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ypeProperties</a:t>
            </a:r>
            <a:r>
              <a:rPr kumimoji="0" lang="es-PE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": {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             "</a:t>
            </a:r>
            <a:r>
              <a:rPr kumimoji="0" lang="es-PE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ope</a:t>
            </a:r>
            <a:r>
              <a:rPr kumimoji="0" lang="es-PE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": "="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         }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     }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 }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7" name="Right Brace 86">
            <a:extLst>
              <a:ext uri="{FF2B5EF4-FFF2-40B4-BE49-F238E27FC236}">
                <a16:creationId xmlns:a16="http://schemas.microsoft.com/office/drawing/2014/main" id="{4B71692A-AC6B-4F29-9447-D3FAFEAF750A}"/>
              </a:ext>
            </a:extLst>
          </p:cNvPr>
          <p:cNvSpPr/>
          <p:nvPr/>
        </p:nvSpPr>
        <p:spPr>
          <a:xfrm>
            <a:off x="8494535" y="762027"/>
            <a:ext cx="623773" cy="563652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5229C993-4757-4F79-A0FC-F667A13D2AAC}"/>
              </a:ext>
            </a:extLst>
          </p:cNvPr>
          <p:cNvSpPr/>
          <p:nvPr/>
        </p:nvSpPr>
        <p:spPr>
          <a:xfrm>
            <a:off x="10131438" y="5002766"/>
            <a:ext cx="1906138" cy="625395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 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upera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l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ímite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e 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rámetros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rmitidos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(256)</a:t>
            </a:r>
            <a:endParaRPr kumimoji="0" lang="es-PE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1AF876E-0511-4549-8681-C34BDF8B1106}"/>
              </a:ext>
            </a:extLst>
          </p:cNvPr>
          <p:cNvSpPr/>
          <p:nvPr/>
        </p:nvSpPr>
        <p:spPr>
          <a:xfrm>
            <a:off x="10131438" y="5681931"/>
            <a:ext cx="1906138" cy="1093678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quiere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-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difica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ARM template parameters (Dev)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-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ambio del storage account en los triggers (Prod)</a:t>
            </a:r>
            <a:endParaRPr kumimoji="0" lang="es-P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0EA1D5E-C768-475A-946E-AFAAF81A8713}"/>
              </a:ext>
            </a:extLst>
          </p:cNvPr>
          <p:cNvSpPr txBox="1"/>
          <p:nvPr/>
        </p:nvSpPr>
        <p:spPr>
          <a:xfrm>
            <a:off x="8972627" y="948225"/>
            <a:ext cx="3047304" cy="19389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"</a:t>
            </a:r>
            <a:r>
              <a:rPr kumimoji="0" lang="es-PE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icrosoft.DataFactory</a:t>
            </a:r>
            <a:r>
              <a:rPr kumimoji="0" lang="es-PE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/</a:t>
            </a:r>
            <a:r>
              <a:rPr kumimoji="0" lang="es-PE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actories</a:t>
            </a:r>
            <a:r>
              <a:rPr kumimoji="0" lang="es-PE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/</a:t>
            </a:r>
            <a:r>
              <a:rPr kumimoji="0" lang="es-PE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iggers</a:t>
            </a:r>
            <a:r>
              <a:rPr kumimoji="0" lang="es-PE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": {}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579071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26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2" dur="500" tmFilter="0, 0; .2, .5; .8, .5; 1, 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33" dur="250" autoRev="1" fill="hold"/>
                                        <p:tgtEl>
                                          <p:spTgt spid="30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34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5" dur="500" tmFilter="0, 0; .2, .5; .8, .5; 1, 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36" dur="250" autoRev="1" fill="hold"/>
                                        <p:tgtEl>
                                          <p:spTgt spid="31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37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8" dur="500" tmFilter="0, 0; .2, .5; .8, .5; 1, 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39" dur="250" autoRev="1" fill="hold"/>
                                        <p:tgtEl>
                                          <p:spTgt spid="34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40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1" dur="500" tmFilter="0, 0; .2, .5; .8, .5; 1, 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42" dur="250" autoRev="1" fill="hold"/>
                                        <p:tgtEl>
                                          <p:spTgt spid="37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6" grpId="0"/>
      <p:bldP spid="89" grpId="0" animBg="1"/>
      <p:bldP spid="2" grpId="0" animBg="1"/>
      <p:bldP spid="3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Solución</a:t>
            </a:r>
            <a:r>
              <a:rPr lang="en-US" dirty="0"/>
              <a:t> 2</a:t>
            </a:r>
          </a:p>
        </p:txBody>
      </p:sp>
    </p:spTree>
    <p:extLst>
      <p:ext uri="{BB962C8B-B14F-4D97-AF65-F5344CB8AC3E}">
        <p14:creationId xmlns:p14="http://schemas.microsoft.com/office/powerpoint/2010/main" val="543614401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366ADD9-A38A-4611-A51C-34764752A05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9240" y="1345720"/>
            <a:ext cx="11653523" cy="3077766"/>
          </a:xfrm>
        </p:spPr>
        <p:txBody>
          <a:bodyPr/>
          <a:lstStyle/>
          <a:p>
            <a:pPr marL="0" indent="0">
              <a:buNone/>
            </a:pPr>
            <a:r>
              <a:rPr lang="en-US" sz="2000" dirty="0" err="1">
                <a:solidFill>
                  <a:srgbClr val="171717"/>
                </a:solidFill>
                <a:latin typeface="Segoe UI" panose="020B0502040204020203" pitchFamily="34" charset="0"/>
              </a:rPr>
              <a:t>En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rgbClr val="171717"/>
                </a:solidFill>
                <a:latin typeface="Segoe UI" panose="020B0502040204020203" pitchFamily="34" charset="0"/>
              </a:rPr>
              <a:t>función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 a las </a:t>
            </a:r>
            <a:r>
              <a:rPr lang="en-US" sz="2000" dirty="0" err="1">
                <a:solidFill>
                  <a:srgbClr val="171717"/>
                </a:solidFill>
                <a:latin typeface="Segoe UI" panose="020B0502040204020203" pitchFamily="34" charset="0"/>
              </a:rPr>
              <a:t>buenas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rgbClr val="171717"/>
                </a:solidFill>
                <a:latin typeface="Segoe UI" panose="020B0502040204020203" pitchFamily="34" charset="0"/>
              </a:rPr>
              <a:t>practicas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, </a:t>
            </a:r>
            <a:r>
              <a:rPr lang="en-US" sz="2000" dirty="0" err="1">
                <a:solidFill>
                  <a:srgbClr val="171717"/>
                </a:solidFill>
                <a:latin typeface="Segoe UI" panose="020B0502040204020203" pitchFamily="34" charset="0"/>
              </a:rPr>
              <a:t>cuando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 se </a:t>
            </a:r>
            <a:r>
              <a:rPr lang="en-US" sz="2000" dirty="0" err="1">
                <a:solidFill>
                  <a:srgbClr val="171717"/>
                </a:solidFill>
                <a:latin typeface="Segoe UI" panose="020B0502040204020203" pitchFamily="34" charset="0"/>
              </a:rPr>
              <a:t>alcance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rgbClr val="171717"/>
                </a:solidFill>
                <a:latin typeface="Segoe UI" panose="020B0502040204020203" pitchFamily="34" charset="0"/>
              </a:rPr>
              <a:t>el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rgbClr val="171717"/>
                </a:solidFill>
                <a:latin typeface="Segoe UI" panose="020B0502040204020203" pitchFamily="34" charset="0"/>
              </a:rPr>
              <a:t>límite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 de </a:t>
            </a:r>
            <a:r>
              <a:rPr lang="en-US" sz="2000" dirty="0" err="1">
                <a:solidFill>
                  <a:srgbClr val="171717"/>
                </a:solidFill>
                <a:latin typeface="Segoe UI" panose="020B0502040204020203" pitchFamily="34" charset="0"/>
              </a:rPr>
              <a:t>parámetros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 de la </a:t>
            </a:r>
            <a:r>
              <a:rPr lang="en-US" sz="2000" dirty="0" err="1">
                <a:solidFill>
                  <a:srgbClr val="171717"/>
                </a:solidFill>
                <a:latin typeface="Segoe UI" panose="020B0502040204020203" pitchFamily="34" charset="0"/>
              </a:rPr>
              <a:t>plantilla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 de ARM, </a:t>
            </a:r>
            <a:r>
              <a:rPr lang="en-US" sz="2000" dirty="0" err="1">
                <a:solidFill>
                  <a:srgbClr val="171717"/>
                </a:solidFill>
                <a:latin typeface="Segoe UI" panose="020B0502040204020203" pitchFamily="34" charset="0"/>
              </a:rPr>
              <a:t>te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rgbClr val="171717"/>
                </a:solidFill>
                <a:latin typeface="Segoe UI" panose="020B0502040204020203" pitchFamily="34" charset="0"/>
              </a:rPr>
              <a:t>sugieren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rgbClr val="171717"/>
                </a:solidFill>
                <a:latin typeface="Segoe UI" panose="020B0502040204020203" pitchFamily="34" charset="0"/>
              </a:rPr>
              <a:t>revisar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 y </a:t>
            </a:r>
            <a:r>
              <a:rPr lang="en-US" sz="2000" dirty="0" err="1">
                <a:solidFill>
                  <a:srgbClr val="171717"/>
                </a:solidFill>
                <a:latin typeface="Segoe UI" panose="020B0502040204020203" pitchFamily="34" charset="0"/>
              </a:rPr>
              <a:t>eliminar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rgbClr val="171717"/>
                </a:solidFill>
                <a:latin typeface="Segoe UI" panose="020B0502040204020203" pitchFamily="34" charset="0"/>
              </a:rPr>
              <a:t>aquellos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 que no </a:t>
            </a:r>
            <a:r>
              <a:rPr lang="en-US" sz="2000" dirty="0" err="1">
                <a:solidFill>
                  <a:srgbClr val="171717"/>
                </a:solidFill>
                <a:latin typeface="Segoe UI" panose="020B0502040204020203" pitchFamily="34" charset="0"/>
              </a:rPr>
              <a:t>necesitas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. </a:t>
            </a:r>
            <a:r>
              <a:rPr lang="en-US" sz="2000" dirty="0" err="1">
                <a:solidFill>
                  <a:srgbClr val="171717"/>
                </a:solidFill>
                <a:latin typeface="Segoe UI" panose="020B0502040204020203" pitchFamily="34" charset="0"/>
              </a:rPr>
              <a:t>En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rgbClr val="171717"/>
                </a:solidFill>
                <a:latin typeface="Segoe UI" panose="020B0502040204020203" pitchFamily="34" charset="0"/>
              </a:rPr>
              <a:t>este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rgbClr val="171717"/>
                </a:solidFill>
                <a:latin typeface="Segoe UI" panose="020B0502040204020203" pitchFamily="34" charset="0"/>
              </a:rPr>
              <a:t>caso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, </a:t>
            </a:r>
            <a:r>
              <a:rPr lang="en-US" sz="2000" dirty="0" err="1">
                <a:solidFill>
                  <a:srgbClr val="171717"/>
                </a:solidFill>
                <a:latin typeface="Segoe UI" panose="020B0502040204020203" pitchFamily="34" charset="0"/>
              </a:rPr>
              <a:t>sí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rgbClr val="171717"/>
                </a:solidFill>
                <a:latin typeface="Segoe UI" panose="020B0502040204020203" pitchFamily="34" charset="0"/>
              </a:rPr>
              <a:t>necesitamos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rgbClr val="171717"/>
                </a:solidFill>
                <a:latin typeface="Segoe UI" panose="020B0502040204020203" pitchFamily="34" charset="0"/>
              </a:rPr>
              <a:t>los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rgbClr val="171717"/>
                </a:solidFill>
                <a:latin typeface="Segoe UI" panose="020B0502040204020203" pitchFamily="34" charset="0"/>
              </a:rPr>
              <a:t>parámetros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rgbClr val="171717"/>
                </a:solidFill>
                <a:latin typeface="Segoe UI" panose="020B0502040204020203" pitchFamily="34" charset="0"/>
              </a:rPr>
              <a:t>en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 la </a:t>
            </a:r>
            <a:r>
              <a:rPr lang="en-US" sz="2000" dirty="0" err="1">
                <a:solidFill>
                  <a:srgbClr val="171717"/>
                </a:solidFill>
                <a:latin typeface="Segoe UI" panose="020B0502040204020203" pitchFamily="34" charset="0"/>
              </a:rPr>
              <a:t>plantilla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rgbClr val="171717"/>
                </a:solidFill>
                <a:latin typeface="Segoe UI" panose="020B0502040204020203" pitchFamily="34" charset="0"/>
              </a:rPr>
              <a:t>porque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rgbClr val="171717"/>
                </a:solidFill>
                <a:latin typeface="Segoe UI" panose="020B0502040204020203" pitchFamily="34" charset="0"/>
              </a:rPr>
              <a:t>esto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rgbClr val="171717"/>
                </a:solidFill>
                <a:latin typeface="Segoe UI" panose="020B0502040204020203" pitchFamily="34" charset="0"/>
              </a:rPr>
              <a:t>nos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rgbClr val="171717"/>
                </a:solidFill>
                <a:latin typeface="Segoe UI" panose="020B0502040204020203" pitchFamily="34" charset="0"/>
              </a:rPr>
              <a:t>permite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rgbClr val="171717"/>
                </a:solidFill>
                <a:latin typeface="Segoe UI" panose="020B0502040204020203" pitchFamily="34" charset="0"/>
              </a:rPr>
              <a:t>hacer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rgbClr val="171717"/>
                </a:solidFill>
                <a:latin typeface="Segoe UI" panose="020B0502040204020203" pitchFamily="34" charset="0"/>
              </a:rPr>
              <a:t>el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rgbClr val="171717"/>
                </a:solidFill>
                <a:latin typeface="Segoe UI" panose="020B0502040204020203" pitchFamily="34" charset="0"/>
              </a:rPr>
              <a:t>cambio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 del storage account </a:t>
            </a:r>
            <a:r>
              <a:rPr lang="en-US" sz="2000" dirty="0" err="1">
                <a:solidFill>
                  <a:srgbClr val="171717"/>
                </a:solidFill>
                <a:latin typeface="Segoe UI" panose="020B0502040204020203" pitchFamily="34" charset="0"/>
              </a:rPr>
              <a:t>en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rgbClr val="171717"/>
                </a:solidFill>
                <a:latin typeface="Segoe UI" panose="020B0502040204020203" pitchFamily="34" charset="0"/>
              </a:rPr>
              <a:t>el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 release pipeline de </a:t>
            </a:r>
            <a:r>
              <a:rPr lang="en-US" sz="2000" dirty="0" err="1">
                <a:solidFill>
                  <a:srgbClr val="171717"/>
                </a:solidFill>
                <a:latin typeface="Segoe UI" panose="020B0502040204020203" pitchFamily="34" charset="0"/>
              </a:rPr>
              <a:t>manera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rgbClr val="171717"/>
                </a:solidFill>
                <a:latin typeface="Segoe UI" panose="020B0502040204020203" pitchFamily="34" charset="0"/>
              </a:rPr>
              <a:t>automática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. </a:t>
            </a:r>
          </a:p>
          <a:p>
            <a:pPr marL="0" indent="0">
              <a:buNone/>
            </a:pPr>
            <a:r>
              <a:rPr lang="en-US" sz="2000" dirty="0" err="1">
                <a:solidFill>
                  <a:srgbClr val="171717"/>
                </a:solidFill>
                <a:latin typeface="Segoe UI" panose="020B0502040204020203" pitchFamily="34" charset="0"/>
              </a:rPr>
              <a:t>Adicionalmente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, </a:t>
            </a:r>
            <a:r>
              <a:rPr lang="en-US" sz="2000" dirty="0" err="1">
                <a:solidFill>
                  <a:srgbClr val="171717"/>
                </a:solidFill>
                <a:latin typeface="Segoe UI" panose="020B0502040204020203" pitchFamily="34" charset="0"/>
              </a:rPr>
              <a:t>el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 trigger genera </a:t>
            </a:r>
            <a:r>
              <a:rPr lang="en-US" sz="2000" dirty="0" err="1">
                <a:solidFill>
                  <a:srgbClr val="171717"/>
                </a:solidFill>
                <a:latin typeface="Segoe UI" panose="020B0502040204020203" pitchFamily="34" charset="0"/>
              </a:rPr>
              <a:t>su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rgbClr val="171717"/>
                </a:solidFill>
                <a:latin typeface="Segoe UI" panose="020B0502040204020203" pitchFamily="34" charset="0"/>
              </a:rPr>
              <a:t>propia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 metadata, </a:t>
            </a:r>
            <a:r>
              <a:rPr lang="en-US" sz="2000" dirty="0" err="1">
                <a:solidFill>
                  <a:srgbClr val="171717"/>
                </a:solidFill>
                <a:latin typeface="Segoe UI" panose="020B0502040204020203" pitchFamily="34" charset="0"/>
              </a:rPr>
              <a:t>almacenando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rgbClr val="171717"/>
                </a:solidFill>
                <a:latin typeface="Segoe UI" panose="020B0502040204020203" pitchFamily="34" charset="0"/>
              </a:rPr>
              <a:t>en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rgbClr val="171717"/>
                </a:solidFill>
                <a:latin typeface="Segoe UI" panose="020B0502040204020203" pitchFamily="34" charset="0"/>
              </a:rPr>
              <a:t>ella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rgbClr val="171717"/>
                </a:solidFill>
                <a:latin typeface="Segoe UI" panose="020B0502040204020203" pitchFamily="34" charset="0"/>
              </a:rPr>
              <a:t>el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rgbClr val="171717"/>
                </a:solidFill>
                <a:latin typeface="Segoe UI" panose="020B0502040204020203" pitchFamily="34" charset="0"/>
              </a:rPr>
              <a:t>nombre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 del storage account, </a:t>
            </a:r>
            <a:r>
              <a:rPr lang="en-US" sz="2000" dirty="0" err="1">
                <a:solidFill>
                  <a:srgbClr val="171717"/>
                </a:solidFill>
                <a:latin typeface="Segoe UI" panose="020B0502040204020203" pitchFamily="34" charset="0"/>
              </a:rPr>
              <a:t>contenedor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, </a:t>
            </a:r>
            <a:r>
              <a:rPr lang="en-US" sz="2000" dirty="0" err="1">
                <a:solidFill>
                  <a:srgbClr val="171717"/>
                </a:solidFill>
                <a:latin typeface="Segoe UI" panose="020B0502040204020203" pitchFamily="34" charset="0"/>
              </a:rPr>
              <a:t>archivo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, entre </a:t>
            </a:r>
            <a:r>
              <a:rPr lang="en-US" sz="2000" dirty="0" err="1">
                <a:solidFill>
                  <a:srgbClr val="171717"/>
                </a:solidFill>
                <a:latin typeface="Segoe UI" panose="020B0502040204020203" pitchFamily="34" charset="0"/>
              </a:rPr>
              <a:t>otros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. </a:t>
            </a:r>
            <a:r>
              <a:rPr lang="en-US" sz="2000" dirty="0" err="1">
                <a:solidFill>
                  <a:srgbClr val="171717"/>
                </a:solidFill>
                <a:latin typeface="Segoe UI" panose="020B0502040204020203" pitchFamily="34" charset="0"/>
              </a:rPr>
              <a:t>Esta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 metadata se </a:t>
            </a:r>
            <a:r>
              <a:rPr lang="en-US" sz="2000" dirty="0" err="1">
                <a:solidFill>
                  <a:srgbClr val="171717"/>
                </a:solidFill>
                <a:latin typeface="Segoe UI" panose="020B0502040204020203" pitchFamily="34" charset="0"/>
              </a:rPr>
              <a:t>puede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 usar </a:t>
            </a:r>
            <a:r>
              <a:rPr lang="en-US" sz="2000" dirty="0" err="1">
                <a:solidFill>
                  <a:srgbClr val="171717"/>
                </a:solidFill>
                <a:latin typeface="Segoe UI" panose="020B0502040204020203" pitchFamily="34" charset="0"/>
              </a:rPr>
              <a:t>en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rgbClr val="171717"/>
                </a:solidFill>
                <a:latin typeface="Segoe UI" panose="020B0502040204020203" pitchFamily="34" charset="0"/>
              </a:rPr>
              <a:t>el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 pipeline </a:t>
            </a:r>
            <a:r>
              <a:rPr lang="en-US" sz="2000" dirty="0" err="1">
                <a:solidFill>
                  <a:srgbClr val="171717"/>
                </a:solidFill>
                <a:latin typeface="Segoe UI" panose="020B0502040204020203" pitchFamily="34" charset="0"/>
              </a:rPr>
              <a:t>como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rgbClr val="171717"/>
                </a:solidFill>
                <a:latin typeface="Segoe UI" panose="020B0502040204020203" pitchFamily="34" charset="0"/>
              </a:rPr>
              <a:t>lógica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 previa a la </a:t>
            </a:r>
            <a:r>
              <a:rPr lang="en-US" sz="2000" dirty="0" err="1">
                <a:solidFill>
                  <a:srgbClr val="171717"/>
                </a:solidFill>
                <a:latin typeface="Segoe UI" panose="020B0502040204020203" pitchFamily="34" charset="0"/>
              </a:rPr>
              <a:t>ejecución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 de las </a:t>
            </a:r>
            <a:r>
              <a:rPr lang="en-US" sz="2000" dirty="0" err="1">
                <a:solidFill>
                  <a:srgbClr val="171717"/>
                </a:solidFill>
                <a:latin typeface="Segoe UI" panose="020B0502040204020203" pitchFamily="34" charset="0"/>
              </a:rPr>
              <a:t>actividades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rgbClr val="171717"/>
                </a:solidFill>
                <a:latin typeface="Segoe UI" panose="020B0502040204020203" pitchFamily="34" charset="0"/>
              </a:rPr>
              <a:t>principales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.</a:t>
            </a:r>
          </a:p>
          <a:p>
            <a:pPr marL="0" indent="0">
              <a:buNone/>
            </a:pPr>
            <a:r>
              <a:rPr lang="en-US" sz="2000" dirty="0" err="1">
                <a:solidFill>
                  <a:srgbClr val="171717"/>
                </a:solidFill>
                <a:latin typeface="Segoe UI" panose="020B0502040204020203" pitchFamily="34" charset="0"/>
              </a:rPr>
              <a:t>En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 ese </a:t>
            </a:r>
            <a:r>
              <a:rPr lang="en-US" sz="2000" dirty="0" err="1">
                <a:solidFill>
                  <a:srgbClr val="171717"/>
                </a:solidFill>
                <a:latin typeface="Segoe UI" panose="020B0502040204020203" pitchFamily="34" charset="0"/>
              </a:rPr>
              <a:t>sentido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, la idea es utilizer un event trigger pipeline y </a:t>
            </a:r>
            <a:r>
              <a:rPr lang="en-US" sz="2000" dirty="0" err="1">
                <a:solidFill>
                  <a:srgbClr val="171717"/>
                </a:solidFill>
                <a:latin typeface="Segoe UI" panose="020B0502040204020203" pitchFamily="34" charset="0"/>
              </a:rPr>
              <a:t>obtener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 la metadata </a:t>
            </a:r>
            <a:r>
              <a:rPr lang="en-US" sz="2000" dirty="0" err="1">
                <a:solidFill>
                  <a:srgbClr val="171717"/>
                </a:solidFill>
                <a:latin typeface="Segoe UI" panose="020B0502040204020203" pitchFamily="34" charset="0"/>
              </a:rPr>
              <a:t>en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rgbClr val="171717"/>
                </a:solidFill>
                <a:latin typeface="Segoe UI" panose="020B0502040204020203" pitchFamily="34" charset="0"/>
              </a:rPr>
              <a:t>el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 pipeline principal para </a:t>
            </a:r>
            <a:r>
              <a:rPr lang="en-US" sz="2000" dirty="0" err="1">
                <a:solidFill>
                  <a:srgbClr val="171717"/>
                </a:solidFill>
                <a:latin typeface="Segoe UI" panose="020B0502040204020203" pitchFamily="34" charset="0"/>
              </a:rPr>
              <a:t>ejecutar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 las </a:t>
            </a:r>
            <a:r>
              <a:rPr lang="en-US" sz="2000" dirty="0" err="1">
                <a:solidFill>
                  <a:srgbClr val="171717"/>
                </a:solidFill>
                <a:latin typeface="Segoe UI" panose="020B0502040204020203" pitchFamily="34" charset="0"/>
              </a:rPr>
              <a:t>actividades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rgbClr val="171717"/>
                </a:solidFill>
                <a:latin typeface="Segoe UI" panose="020B0502040204020203" pitchFamily="34" charset="0"/>
              </a:rPr>
              <a:t>según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 la </a:t>
            </a:r>
            <a:r>
              <a:rPr lang="en-US" sz="2000" dirty="0" err="1">
                <a:solidFill>
                  <a:srgbClr val="171717"/>
                </a:solidFill>
                <a:latin typeface="Segoe UI" panose="020B0502040204020203" pitchFamily="34" charset="0"/>
              </a:rPr>
              <a:t>lógica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 que se </a:t>
            </a:r>
            <a:r>
              <a:rPr lang="en-US" sz="2000" dirty="0" err="1">
                <a:solidFill>
                  <a:srgbClr val="171717"/>
                </a:solidFill>
                <a:latin typeface="Segoe UI" panose="020B0502040204020203" pitchFamily="34" charset="0"/>
              </a:rPr>
              <a:t>tenía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rgbClr val="171717"/>
                </a:solidFill>
                <a:latin typeface="Segoe UI" panose="020B0502040204020203" pitchFamily="34" charset="0"/>
              </a:rPr>
              <a:t>en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rgbClr val="171717"/>
                </a:solidFill>
                <a:latin typeface="Segoe UI" panose="020B0502040204020203" pitchFamily="34" charset="0"/>
              </a:rPr>
              <a:t>los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 trigger. </a:t>
            </a:r>
            <a:r>
              <a:rPr lang="en-US" sz="2000" dirty="0" err="1">
                <a:solidFill>
                  <a:srgbClr val="171717"/>
                </a:solidFill>
                <a:latin typeface="Segoe UI" panose="020B0502040204020203" pitchFamily="34" charset="0"/>
              </a:rPr>
              <a:t>Buscando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rgbClr val="171717"/>
                </a:solidFill>
                <a:latin typeface="Segoe UI" panose="020B0502040204020203" pitchFamily="34" charset="0"/>
              </a:rPr>
              <a:t>trasladar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 la </a:t>
            </a:r>
            <a:r>
              <a:rPr lang="en-US" sz="2000" dirty="0" err="1">
                <a:solidFill>
                  <a:srgbClr val="171717"/>
                </a:solidFill>
                <a:latin typeface="Segoe UI" panose="020B0502040204020203" pitchFamily="34" charset="0"/>
              </a:rPr>
              <a:t>lógica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 de </a:t>
            </a:r>
            <a:r>
              <a:rPr lang="en-US" sz="2000" dirty="0" err="1">
                <a:solidFill>
                  <a:srgbClr val="171717"/>
                </a:solidFill>
                <a:latin typeface="Segoe UI" panose="020B0502040204020203" pitchFamily="34" charset="0"/>
              </a:rPr>
              <a:t>los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 trigger a </a:t>
            </a:r>
            <a:r>
              <a:rPr lang="en-US" sz="2000" dirty="0" err="1">
                <a:solidFill>
                  <a:srgbClr val="171717"/>
                </a:solidFill>
                <a:latin typeface="Segoe UI" panose="020B0502040204020203" pitchFamily="34" charset="0"/>
              </a:rPr>
              <a:t>nivel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 de metadata y </a:t>
            </a:r>
            <a:r>
              <a:rPr lang="en-US" sz="2000" dirty="0" err="1">
                <a:solidFill>
                  <a:srgbClr val="171717"/>
                </a:solidFill>
                <a:latin typeface="Segoe UI" panose="020B0502040204020203" pitchFamily="34" charset="0"/>
              </a:rPr>
              <a:t>ejecución</a:t>
            </a:r>
            <a:r>
              <a:rPr lang="en-US" sz="2000" dirty="0">
                <a:solidFill>
                  <a:srgbClr val="171717"/>
                </a:solidFill>
                <a:latin typeface="Segoe UI" panose="020B0502040204020203" pitchFamily="34" charset="0"/>
              </a:rPr>
              <a:t> del pipeline.</a:t>
            </a:r>
            <a:endParaRPr lang="es-PE" sz="4000" dirty="0">
              <a:solidFill>
                <a:srgbClr val="171717"/>
              </a:solidFill>
              <a:latin typeface="Segoe UI" panose="020B0502040204020203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DD5D076-BC56-4259-B3EA-22D95CECD5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Solución</a:t>
            </a:r>
            <a:r>
              <a:rPr lang="en-US" dirty="0"/>
              <a:t> 2 (</a:t>
            </a:r>
            <a:r>
              <a:rPr lang="en-US" dirty="0" err="1"/>
              <a:t>recomendada</a:t>
            </a:r>
            <a:r>
              <a:rPr lang="en-US" dirty="0"/>
              <a:t>)</a:t>
            </a:r>
            <a:endParaRPr lang="es-PE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0A157AF-E85D-4BD9-A146-FAFC6B09302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8FEED8F-67A2-46EA-A24C-A41FAFDEBE62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83193035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.n_mmwRDqszxIbY7qFQ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BKUC99zHoLq54rIHZKb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HsRXnccHNasG5P42unM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4EqBjEk.N6Nw3rXe1uPM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ZCfLukH7ZUSR5q5XqlBO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xi01awqSJJGC.H3xjkr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BKUC99zHoLq54rIHZKb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qi80U.HhBV5.fuXbdG2X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dCXyfG6Q6E471QlSRvZh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4EqBjEk.N6Nw3rXe1uPM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ZCfLukH7ZUSR5q5XqlBO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xi01awqSJJGC.H3xjkr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BKUC99zHoLq54rIHZKb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qi80U.HhBV5.fuXbdG2X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dCXyfG6Q6E471QlSRvZh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ZPhQqNtgOtCSsm2i5NOW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ZPhQqNtgOtCSsm2i5NOW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ZPhQqNtgOtCSsm2i5NOW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CTyG90b29qsd9mKN0VkJ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CtKLepIBqehPrgH5Qqbl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CTyG90b29qsd9mKN0VkJ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CtKLepIBqehPrgH5Qqbl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5ZW2emKzlvMQ8zHNGtny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CR6G1fiphHT2d1OtJOF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5LYRPHAT06a1yaBhftcj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COLOR TEMPLATE">
  <a:themeElements>
    <a:clrScheme name="Custom 5">
      <a:dk1>
        <a:srgbClr val="505050"/>
      </a:dk1>
      <a:lt1>
        <a:srgbClr val="FFFFFF"/>
      </a:lt1>
      <a:dk2>
        <a:srgbClr val="0078D8"/>
      </a:dk2>
      <a:lt2>
        <a:srgbClr val="005AA2"/>
      </a:lt2>
      <a:accent1>
        <a:srgbClr val="003C6C"/>
      </a:accent1>
      <a:accent2>
        <a:srgbClr val="5C2E91"/>
      </a:accent2>
      <a:accent3>
        <a:srgbClr val="008272"/>
      </a:accent3>
      <a:accent4>
        <a:srgbClr val="D63B02"/>
      </a:accent4>
      <a:accent5>
        <a:srgbClr val="02BBF3"/>
      </a:accent5>
      <a:accent6>
        <a:srgbClr val="004B50"/>
      </a:accent6>
      <a:hlink>
        <a:srgbClr val="0078D8"/>
      </a:hlink>
      <a:folHlink>
        <a:srgbClr val="02BBF3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2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>
            <a:solidFill>
              <a:schemeClr val="tx1"/>
            </a:solidFill>
            <a:latin typeface="Segoe UI Semibold" panose="020B0702040204020203" pitchFamily="34" charset="0"/>
            <a:cs typeface="Segoe UI Semibold" panose="020B0702040204020203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rand_template_16-9 Business_BLUE_1" id="{5F55DDFD-517B-456E-9DA0-1901618FBA38}" vid="{64E9B03C-DF2B-4891-9356-D35CF69F1B06}"/>
    </a:ext>
  </a:extLst>
</a:theme>
</file>

<file path=ppt/theme/theme2.xml><?xml version="1.0" encoding="utf-8"?>
<a:theme xmlns:a="http://schemas.openxmlformats.org/drawingml/2006/main" name="3_Microsoft Unified Support">
  <a:themeElements>
    <a:clrScheme name="Unified Support">
      <a:dk1>
        <a:srgbClr val="1A1A1A"/>
      </a:dk1>
      <a:lt1>
        <a:srgbClr val="FFFFFF"/>
      </a:lt1>
      <a:dk2>
        <a:srgbClr val="0D0D0D"/>
      </a:dk2>
      <a:lt2>
        <a:srgbClr val="E6E6E6"/>
      </a:lt2>
      <a:accent1>
        <a:srgbClr val="0078D4"/>
      </a:accent1>
      <a:accent2>
        <a:srgbClr val="243A5E"/>
      </a:accent2>
      <a:accent3>
        <a:srgbClr val="50E6FF"/>
      </a:accent3>
      <a:accent4>
        <a:srgbClr val="008575"/>
      </a:accent4>
      <a:accent5>
        <a:srgbClr val="737373"/>
      </a:accent5>
      <a:accent6>
        <a:srgbClr val="D2D2D2"/>
      </a:accent6>
      <a:hlink>
        <a:srgbClr val="0078D4"/>
      </a:hlink>
      <a:folHlink>
        <a:srgbClr val="0078D4"/>
      </a:folHlink>
    </a:clrScheme>
    <a:fontScheme name="Unified Support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182880" tIns="146304" rIns="182880" bIns="146304" rtlCol="0">
        <a:spAutoFit/>
      </a:bodyPr>
      <a:lstStyle>
        <a:defPPr algn="l">
          <a:lnSpc>
            <a:spcPct val="90000"/>
          </a:lnSpc>
          <a:spcAft>
            <a:spcPts val="600"/>
          </a:spcAft>
          <a:defRPr sz="2400" dirty="0" smtClean="0">
            <a:solidFill>
              <a:schemeClr val="accent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rand_template_16-9 Business_BLUE_1" id="{5F55DDFD-517B-456E-9DA0-1901618FBA38}" vid="{64E9B03C-DF2B-4891-9356-D35CF69F1B06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Metadata/LabelInfo.xml><?xml version="1.0" encoding="utf-8"?>
<clbl:labelList xmlns:clbl="http://schemas.microsoft.com/office/2020/mipLabelMetadata">
  <clbl:label id="{f42aa342-8706-4288-bd11-ebb85995028c}" enabled="1" method="Standard" siteId="{72f988bf-86f1-41af-91ab-2d7cd011db47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38</TotalTime>
  <Words>1588</Words>
  <Application>Microsoft Office PowerPoint</Application>
  <PresentationFormat>Widescreen</PresentationFormat>
  <Paragraphs>254</Paragraphs>
  <Slides>18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9" baseType="lpstr">
      <vt:lpstr>Arial</vt:lpstr>
      <vt:lpstr>Calibri</vt:lpstr>
      <vt:lpstr>Calibri Light</vt:lpstr>
      <vt:lpstr>Segoe UI</vt:lpstr>
      <vt:lpstr>Segoe UI Light</vt:lpstr>
      <vt:lpstr>Segoe UI Semibold</vt:lpstr>
      <vt:lpstr>Wingdings</vt:lpstr>
      <vt:lpstr>2_COLOR TEMPLATE</vt:lpstr>
      <vt:lpstr>3_Microsoft Unified Support</vt:lpstr>
      <vt:lpstr>Office Theme</vt:lpstr>
      <vt:lpstr>think-cell Slide</vt:lpstr>
      <vt:lpstr>ADF CI/CD – ARM parameters</vt:lpstr>
      <vt:lpstr>Escenario Actual</vt:lpstr>
      <vt:lpstr>Estado actual</vt:lpstr>
      <vt:lpstr>PowerPoint Presentation</vt:lpstr>
      <vt:lpstr>Solución 1</vt:lpstr>
      <vt:lpstr>Solución 1</vt:lpstr>
      <vt:lpstr>PowerPoint Presentation</vt:lpstr>
      <vt:lpstr>Solución 2</vt:lpstr>
      <vt:lpstr>Solución 2 (recomendada)</vt:lpstr>
      <vt:lpstr>PowerPoint Presentation</vt:lpstr>
      <vt:lpstr>Documentación</vt:lpstr>
      <vt:lpstr>Parameter limitations</vt:lpstr>
      <vt:lpstr>Storage Event Triggers limitations</vt:lpstr>
      <vt:lpstr>Incremental Deployment (DevOps release pipeline)</vt:lpstr>
      <vt:lpstr>DataFactory Publish</vt:lpstr>
      <vt:lpstr>CIP : Automate ADF with CI/CD</vt:lpstr>
      <vt:lpstr>Links adicionales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chelle Alessandra Santibáñez Muñoz</dc:creator>
  <cp:lastModifiedBy>Michelle Alessandra Santibáñez Muñoz</cp:lastModifiedBy>
  <cp:revision>1</cp:revision>
  <dcterms:created xsi:type="dcterms:W3CDTF">2022-02-18T06:06:48Z</dcterms:created>
  <dcterms:modified xsi:type="dcterms:W3CDTF">2022-09-01T22:19:28Z</dcterms:modified>
</cp:coreProperties>
</file>